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6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  <p:sldMasterId id="2147483900" r:id="rId2"/>
    <p:sldMasterId id="2147483928" r:id="rId3"/>
    <p:sldMasterId id="2147483939" r:id="rId4"/>
    <p:sldMasterId id="2147483951" r:id="rId5"/>
    <p:sldMasterId id="2147483957" r:id="rId6"/>
    <p:sldMasterId id="2147484132" r:id="rId7"/>
  </p:sldMasterIdLst>
  <p:notesMasterIdLst>
    <p:notesMasterId r:id="rId27"/>
  </p:notesMasterIdLst>
  <p:handoutMasterIdLst>
    <p:handoutMasterId r:id="rId28"/>
  </p:handoutMasterIdLst>
  <p:sldIdLst>
    <p:sldId id="423" r:id="rId8"/>
    <p:sldId id="842" r:id="rId9"/>
    <p:sldId id="2147373308" r:id="rId10"/>
    <p:sldId id="1231" r:id="rId11"/>
    <p:sldId id="1226" r:id="rId12"/>
    <p:sldId id="1232" r:id="rId13"/>
    <p:sldId id="260" r:id="rId14"/>
    <p:sldId id="258" r:id="rId15"/>
    <p:sldId id="259" r:id="rId16"/>
    <p:sldId id="256" r:id="rId17"/>
    <p:sldId id="257" r:id="rId18"/>
    <p:sldId id="262" r:id="rId19"/>
    <p:sldId id="463" r:id="rId20"/>
    <p:sldId id="425" r:id="rId21"/>
    <p:sldId id="426" r:id="rId22"/>
    <p:sldId id="427" r:id="rId23"/>
    <p:sldId id="2147373309" r:id="rId24"/>
    <p:sldId id="422" r:id="rId25"/>
    <p:sldId id="445" r:id="rId26"/>
  </p:sldIdLst>
  <p:sldSz cx="12192000" cy="6858000"/>
  <p:notesSz cx="6797675" cy="9872663"/>
  <p:embeddedFontLst>
    <p:embeddedFont>
      <p:font typeface="Aktiv Grotesk" panose="020B0504020202020204" pitchFamily="34" charset="0"/>
      <p:regular r:id="rId29"/>
      <p:bold r:id="rId30"/>
    </p:embeddedFont>
    <p:embeddedFont>
      <p:font typeface="Aktiv Grotesk Medium" panose="020B0504020202020204" pitchFamily="34" charset="0"/>
      <p:regular r:id="rId31"/>
    </p:embeddedFont>
    <p:embeddedFont>
      <p:font typeface="Aktiv Grotesk Thin" panose="020B0404020202020204" pitchFamily="34" charset="0"/>
      <p:regular r:id="rId32"/>
    </p:embeddedFont>
    <p:embeddedFont>
      <p:font typeface="Calibri" panose="020F0502020204030204" pitchFamily="34" charset="0"/>
      <p:regular r:id="rId33"/>
      <p:bold r:id="rId34"/>
      <p:italic r:id="rId35"/>
      <p:boldItalic r:id="rId36"/>
    </p:embeddedFont>
    <p:embeddedFont>
      <p:font typeface="Calibri Light" panose="020F0302020204030204" pitchFamily="34" charset="0"/>
      <p:regular r:id="rId37"/>
      <p:italic r:id="rId38"/>
    </p:embeddedFont>
    <p:embeddedFont>
      <p:font typeface="Tahoma" panose="020B0604030504040204" pitchFamily="34" charset="0"/>
      <p:regular r:id="rId39"/>
      <p:bold r:id="rId40"/>
    </p:embeddedFont>
  </p:embeddedFontLst>
  <p:custDataLst>
    <p:tags r:id="rId4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32FA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610B43C-6C5B-47C0-9821-7FBBC1741184}" v="9" dt="2021-11-29T10:55:09.30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00" autoAdjust="0"/>
    <p:restoredTop sz="80448" autoAdjust="0"/>
  </p:normalViewPr>
  <p:slideViewPr>
    <p:cSldViewPr snapToGrid="0" showGuides="1">
      <p:cViewPr varScale="1">
        <p:scale>
          <a:sx n="101" d="100"/>
          <a:sy n="101" d="100"/>
        </p:scale>
        <p:origin x="192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92" d="100"/>
          <a:sy n="92" d="100"/>
        </p:scale>
        <p:origin x="364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font" Target="fonts/font11.fntdata"/><Relationship Id="rId21" Type="http://schemas.openxmlformats.org/officeDocument/2006/relationships/slide" Target="slides/slide14.xml"/><Relationship Id="rId34" Type="http://schemas.openxmlformats.org/officeDocument/2006/relationships/font" Target="fonts/font6.fntdata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font" Target="fonts/font12.fntdata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handoutMaster" Target="handoutMasters/handoutMaster1.xml"/><Relationship Id="rId36" Type="http://schemas.openxmlformats.org/officeDocument/2006/relationships/font" Target="fonts/font8.fntdata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font" Target="fonts/font3.fntdata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openxmlformats.org/officeDocument/2006/relationships/viewProps" Target="viewProps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font" Target="fonts/font5.fntdata"/><Relationship Id="rId38" Type="http://schemas.openxmlformats.org/officeDocument/2006/relationships/font" Target="fonts/font10.fntdata"/><Relationship Id="rId46" Type="http://schemas.microsoft.com/office/2016/11/relationships/changesInfo" Target="changesInfos/changesInfo1.xml"/><Relationship Id="rId20" Type="http://schemas.openxmlformats.org/officeDocument/2006/relationships/slide" Target="slides/slide13.xml"/><Relationship Id="rId41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ladimir Proskurin" userId="bd820e96-7ead-40e8-92fa-3e942e2935b9" providerId="ADAL" clId="{E3FF7851-5992-4F0B-93D5-6FC594057B71}"/>
    <pc:docChg chg="custSel addSld delSld modSld sldOrd">
      <pc:chgData name="Vladimir Proskurin" userId="bd820e96-7ead-40e8-92fa-3e942e2935b9" providerId="ADAL" clId="{E3FF7851-5992-4F0B-93D5-6FC594057B71}" dt="2021-11-04T08:34:11.852" v="37" actId="20577"/>
      <pc:docMkLst>
        <pc:docMk/>
      </pc:docMkLst>
      <pc:sldChg chg="add del">
        <pc:chgData name="Vladimir Proskurin" userId="bd820e96-7ead-40e8-92fa-3e942e2935b9" providerId="ADAL" clId="{E3FF7851-5992-4F0B-93D5-6FC594057B71}" dt="2021-11-04T08:30:00.450" v="23"/>
        <pc:sldMkLst>
          <pc:docMk/>
          <pc:sldMk cId="0" sldId="256"/>
        </pc:sldMkLst>
      </pc:sldChg>
      <pc:sldChg chg="add del">
        <pc:chgData name="Vladimir Proskurin" userId="bd820e96-7ead-40e8-92fa-3e942e2935b9" providerId="ADAL" clId="{E3FF7851-5992-4F0B-93D5-6FC594057B71}" dt="2021-11-04T08:30:00.450" v="23"/>
        <pc:sldMkLst>
          <pc:docMk/>
          <pc:sldMk cId="0" sldId="257"/>
        </pc:sldMkLst>
      </pc:sldChg>
      <pc:sldChg chg="modSp mod">
        <pc:chgData name="Vladimir Proskurin" userId="bd820e96-7ead-40e8-92fa-3e942e2935b9" providerId="ADAL" clId="{E3FF7851-5992-4F0B-93D5-6FC594057B71}" dt="2021-11-04T08:27:26.867" v="1" actId="2711"/>
        <pc:sldMkLst>
          <pc:docMk/>
          <pc:sldMk cId="3224772830" sldId="258"/>
        </pc:sldMkLst>
        <pc:spChg chg="mod">
          <ac:chgData name="Vladimir Proskurin" userId="bd820e96-7ead-40e8-92fa-3e942e2935b9" providerId="ADAL" clId="{E3FF7851-5992-4F0B-93D5-6FC594057B71}" dt="2021-11-04T08:27:17.166" v="0" actId="2711"/>
          <ac:spMkLst>
            <pc:docMk/>
            <pc:sldMk cId="3224772830" sldId="258"/>
            <ac:spMk id="6" creationId="{00000000-0000-0000-0000-000000000000}"/>
          </ac:spMkLst>
        </pc:spChg>
        <pc:spChg chg="mod">
          <ac:chgData name="Vladimir Proskurin" userId="bd820e96-7ead-40e8-92fa-3e942e2935b9" providerId="ADAL" clId="{E3FF7851-5992-4F0B-93D5-6FC594057B71}" dt="2021-11-04T08:27:26.867" v="1" actId="2711"/>
          <ac:spMkLst>
            <pc:docMk/>
            <pc:sldMk cId="3224772830" sldId="258"/>
            <ac:spMk id="7" creationId="{00000000-0000-0000-0000-000000000000}"/>
          </ac:spMkLst>
        </pc:spChg>
      </pc:sldChg>
      <pc:sldChg chg="addSp modSp mod">
        <pc:chgData name="Vladimir Proskurin" userId="bd820e96-7ead-40e8-92fa-3e942e2935b9" providerId="ADAL" clId="{E3FF7851-5992-4F0B-93D5-6FC594057B71}" dt="2021-11-04T08:28:47.188" v="20" actId="20577"/>
        <pc:sldMkLst>
          <pc:docMk/>
          <pc:sldMk cId="100380714" sldId="259"/>
        </pc:sldMkLst>
        <pc:spChg chg="mod">
          <ac:chgData name="Vladimir Proskurin" userId="bd820e96-7ead-40e8-92fa-3e942e2935b9" providerId="ADAL" clId="{E3FF7851-5992-4F0B-93D5-6FC594057B71}" dt="2021-11-04T08:28:19.195" v="16" actId="20577"/>
          <ac:spMkLst>
            <pc:docMk/>
            <pc:sldMk cId="100380714" sldId="259"/>
            <ac:spMk id="2" creationId="{00000000-0000-0000-0000-000000000000}"/>
          </ac:spMkLst>
        </pc:spChg>
        <pc:spChg chg="add mod">
          <ac:chgData name="Vladimir Proskurin" userId="bd820e96-7ead-40e8-92fa-3e942e2935b9" providerId="ADAL" clId="{E3FF7851-5992-4F0B-93D5-6FC594057B71}" dt="2021-11-04T08:28:47.188" v="20" actId="20577"/>
          <ac:spMkLst>
            <pc:docMk/>
            <pc:sldMk cId="100380714" sldId="259"/>
            <ac:spMk id="5" creationId="{1447040B-681B-4D3F-AB61-D93173F8A996}"/>
          </ac:spMkLst>
        </pc:spChg>
      </pc:sldChg>
      <pc:sldChg chg="add del">
        <pc:chgData name="Vladimir Proskurin" userId="bd820e96-7ead-40e8-92fa-3e942e2935b9" providerId="ADAL" clId="{E3FF7851-5992-4F0B-93D5-6FC594057B71}" dt="2021-11-04T08:30:00.450" v="23"/>
        <pc:sldMkLst>
          <pc:docMk/>
          <pc:sldMk cId="3575823095" sldId="261"/>
        </pc:sldMkLst>
      </pc:sldChg>
      <pc:sldChg chg="add del">
        <pc:chgData name="Vladimir Proskurin" userId="bd820e96-7ead-40e8-92fa-3e942e2935b9" providerId="ADAL" clId="{E3FF7851-5992-4F0B-93D5-6FC594057B71}" dt="2021-11-04T08:30:00.450" v="23"/>
        <pc:sldMkLst>
          <pc:docMk/>
          <pc:sldMk cId="3450709619" sldId="262"/>
        </pc:sldMkLst>
      </pc:sldChg>
      <pc:sldChg chg="del">
        <pc:chgData name="Vladimir Proskurin" userId="bd820e96-7ead-40e8-92fa-3e942e2935b9" providerId="ADAL" clId="{E3FF7851-5992-4F0B-93D5-6FC594057B71}" dt="2021-11-04T08:30:48.362" v="26" actId="47"/>
        <pc:sldMkLst>
          <pc:docMk/>
          <pc:sldMk cId="1471637110" sldId="411"/>
        </pc:sldMkLst>
      </pc:sldChg>
      <pc:sldChg chg="add del">
        <pc:chgData name="Vladimir Proskurin" userId="bd820e96-7ead-40e8-92fa-3e942e2935b9" providerId="ADAL" clId="{E3FF7851-5992-4F0B-93D5-6FC594057B71}" dt="2021-11-04T08:30:00.450" v="23"/>
        <pc:sldMkLst>
          <pc:docMk/>
          <pc:sldMk cId="1569227626" sldId="2147373309"/>
        </pc:sldMkLst>
      </pc:sldChg>
      <pc:sldChg chg="modSp add del mod ord">
        <pc:chgData name="Vladimir Proskurin" userId="bd820e96-7ead-40e8-92fa-3e942e2935b9" providerId="ADAL" clId="{E3FF7851-5992-4F0B-93D5-6FC594057B71}" dt="2021-11-04T08:34:11.852" v="37" actId="20577"/>
        <pc:sldMkLst>
          <pc:docMk/>
          <pc:sldMk cId="0" sldId="2147373310"/>
        </pc:sldMkLst>
        <pc:spChg chg="mod">
          <ac:chgData name="Vladimir Proskurin" userId="bd820e96-7ead-40e8-92fa-3e942e2935b9" providerId="ADAL" clId="{E3FF7851-5992-4F0B-93D5-6FC594057B71}" dt="2021-11-04T08:34:11.852" v="37" actId="20577"/>
          <ac:spMkLst>
            <pc:docMk/>
            <pc:sldMk cId="0" sldId="2147373310"/>
            <ac:spMk id="2" creationId="{00000000-0000-0000-0000-000000000000}"/>
          </ac:spMkLst>
        </pc:spChg>
      </pc:sldChg>
      <pc:sldMasterChg chg="delSldLayout">
        <pc:chgData name="Vladimir Proskurin" userId="bd820e96-7ead-40e8-92fa-3e942e2935b9" providerId="ADAL" clId="{E3FF7851-5992-4F0B-93D5-6FC594057B71}" dt="2021-11-04T08:30:48.362" v="26" actId="47"/>
        <pc:sldMasterMkLst>
          <pc:docMk/>
          <pc:sldMasterMk cId="3232202241" sldId="2147483648"/>
        </pc:sldMasterMkLst>
        <pc:sldLayoutChg chg="del">
          <pc:chgData name="Vladimir Proskurin" userId="bd820e96-7ead-40e8-92fa-3e942e2935b9" providerId="ADAL" clId="{E3FF7851-5992-4F0B-93D5-6FC594057B71}" dt="2021-11-04T08:30:48.362" v="26" actId="47"/>
          <pc:sldLayoutMkLst>
            <pc:docMk/>
            <pc:sldMasterMk cId="3232202241" sldId="2147483648"/>
            <pc:sldLayoutMk cId="3377623756" sldId="2147483926"/>
          </pc:sldLayoutMkLst>
        </pc:sldLayoutChg>
      </pc:sldMasterChg>
    </pc:docChg>
  </pc:docChgLst>
  <pc:docChgLst>
    <pc:chgData name="Vladimir Proskurin" userId="bd820e96-7ead-40e8-92fa-3e942e2935b9" providerId="ADAL" clId="{6610B43C-6C5B-47C0-9821-7FBBC1741184}"/>
    <pc:docChg chg="undo custSel addSld delSld modSld sldOrd">
      <pc:chgData name="Vladimir Proskurin" userId="bd820e96-7ead-40e8-92fa-3e942e2935b9" providerId="ADAL" clId="{6610B43C-6C5B-47C0-9821-7FBBC1741184}" dt="2021-11-29T10:58:28.014" v="1077" actId="1076"/>
      <pc:docMkLst>
        <pc:docMk/>
      </pc:docMkLst>
      <pc:sldChg chg="del">
        <pc:chgData name="Vladimir Proskurin" userId="bd820e96-7ead-40e8-92fa-3e942e2935b9" providerId="ADAL" clId="{6610B43C-6C5B-47C0-9821-7FBBC1741184}" dt="2021-11-23T09:53:02.431" v="96" actId="47"/>
        <pc:sldMkLst>
          <pc:docMk/>
          <pc:sldMk cId="3575823095" sldId="261"/>
        </pc:sldMkLst>
      </pc:sldChg>
      <pc:sldChg chg="addSp delSp modSp add del mod ord">
        <pc:chgData name="Vladimir Proskurin" userId="bd820e96-7ead-40e8-92fa-3e942e2935b9" providerId="ADAL" clId="{6610B43C-6C5B-47C0-9821-7FBBC1741184}" dt="2021-11-23T09:48:48.518" v="74" actId="207"/>
        <pc:sldMkLst>
          <pc:docMk/>
          <pc:sldMk cId="377059777" sldId="423"/>
        </pc:sldMkLst>
        <pc:spChg chg="del">
          <ac:chgData name="Vladimir Proskurin" userId="bd820e96-7ead-40e8-92fa-3e942e2935b9" providerId="ADAL" clId="{6610B43C-6C5B-47C0-9821-7FBBC1741184}" dt="2021-11-23T09:44:52.133" v="16" actId="478"/>
          <ac:spMkLst>
            <pc:docMk/>
            <pc:sldMk cId="377059777" sldId="423"/>
            <ac:spMk id="2" creationId="{4CC7CDD5-CE67-4B16-BE91-0126D7E914BF}"/>
          </ac:spMkLst>
        </pc:spChg>
        <pc:spChg chg="del">
          <ac:chgData name="Vladimir Proskurin" userId="bd820e96-7ead-40e8-92fa-3e942e2935b9" providerId="ADAL" clId="{6610B43C-6C5B-47C0-9821-7FBBC1741184}" dt="2021-11-23T09:44:56.190" v="17" actId="478"/>
          <ac:spMkLst>
            <pc:docMk/>
            <pc:sldMk cId="377059777" sldId="423"/>
            <ac:spMk id="3" creationId="{4C03B4F5-B81C-4ED2-BADD-125375AE5FF0}"/>
          </ac:spMkLst>
        </pc:spChg>
        <pc:spChg chg="add mod">
          <ac:chgData name="Vladimir Proskurin" userId="bd820e96-7ead-40e8-92fa-3e942e2935b9" providerId="ADAL" clId="{6610B43C-6C5B-47C0-9821-7FBBC1741184}" dt="2021-11-23T09:48:48.518" v="74" actId="207"/>
          <ac:spMkLst>
            <pc:docMk/>
            <pc:sldMk cId="377059777" sldId="423"/>
            <ac:spMk id="5" creationId="{D8A46821-1A05-4C73-899E-DC427BAFFCF2}"/>
          </ac:spMkLst>
        </pc:spChg>
        <pc:spChg chg="add del mod">
          <ac:chgData name="Vladimir Proskurin" userId="bd820e96-7ead-40e8-92fa-3e942e2935b9" providerId="ADAL" clId="{6610B43C-6C5B-47C0-9821-7FBBC1741184}" dt="2021-11-23T09:48:24.056" v="72" actId="478"/>
          <ac:spMkLst>
            <pc:docMk/>
            <pc:sldMk cId="377059777" sldId="423"/>
            <ac:spMk id="7" creationId="{1ACA42B2-CEBA-47F2-BA51-3BBDE75AEDB8}"/>
          </ac:spMkLst>
        </pc:spChg>
        <pc:spChg chg="del">
          <ac:chgData name="Vladimir Proskurin" userId="bd820e96-7ead-40e8-92fa-3e942e2935b9" providerId="ADAL" clId="{6610B43C-6C5B-47C0-9821-7FBBC1741184}" dt="2021-11-23T09:44:59.472" v="18" actId="478"/>
          <ac:spMkLst>
            <pc:docMk/>
            <pc:sldMk cId="377059777" sldId="423"/>
            <ac:spMk id="9" creationId="{0CD5151B-37F2-4170-A3AB-629DA2A5F61B}"/>
          </ac:spMkLst>
        </pc:spChg>
        <pc:picChg chg="add del">
          <ac:chgData name="Vladimir Proskurin" userId="bd820e96-7ead-40e8-92fa-3e942e2935b9" providerId="ADAL" clId="{6610B43C-6C5B-47C0-9821-7FBBC1741184}" dt="2021-11-23T09:48:19.488" v="71" actId="478"/>
          <ac:picMkLst>
            <pc:docMk/>
            <pc:sldMk cId="377059777" sldId="423"/>
            <ac:picMk id="22" creationId="{7B60CFC7-87AC-4B27-AB0A-27160F86636C}"/>
          </ac:picMkLst>
        </pc:picChg>
      </pc:sldChg>
      <pc:sldChg chg="modSp add del mod">
        <pc:chgData name="Vladimir Proskurin" userId="bd820e96-7ead-40e8-92fa-3e942e2935b9" providerId="ADAL" clId="{6610B43C-6C5B-47C0-9821-7FBBC1741184}" dt="2021-11-23T09:58:24.737" v="493" actId="20577"/>
        <pc:sldMkLst>
          <pc:docMk/>
          <pc:sldMk cId="3148983839" sldId="425"/>
        </pc:sldMkLst>
        <pc:spChg chg="mod">
          <ac:chgData name="Vladimir Proskurin" userId="bd820e96-7ead-40e8-92fa-3e942e2935b9" providerId="ADAL" clId="{6610B43C-6C5B-47C0-9821-7FBBC1741184}" dt="2021-11-23T09:55:15.928" v="262" actId="113"/>
          <ac:spMkLst>
            <pc:docMk/>
            <pc:sldMk cId="3148983839" sldId="425"/>
            <ac:spMk id="23" creationId="{9936247A-AB7A-463A-81A4-686FF559DE9B}"/>
          </ac:spMkLst>
        </pc:spChg>
        <pc:spChg chg="mod">
          <ac:chgData name="Vladimir Proskurin" userId="bd820e96-7ead-40e8-92fa-3e942e2935b9" providerId="ADAL" clId="{6610B43C-6C5B-47C0-9821-7FBBC1741184}" dt="2021-11-23T09:56:49.191" v="369" actId="20577"/>
          <ac:spMkLst>
            <pc:docMk/>
            <pc:sldMk cId="3148983839" sldId="425"/>
            <ac:spMk id="31" creationId="{0E401677-87D2-4C2D-8EA6-8B944105D115}"/>
          </ac:spMkLst>
        </pc:spChg>
        <pc:spChg chg="mod">
          <ac:chgData name="Vladimir Proskurin" userId="bd820e96-7ead-40e8-92fa-3e942e2935b9" providerId="ADAL" clId="{6610B43C-6C5B-47C0-9821-7FBBC1741184}" dt="2021-11-23T09:58:24.737" v="493" actId="20577"/>
          <ac:spMkLst>
            <pc:docMk/>
            <pc:sldMk cId="3148983839" sldId="425"/>
            <ac:spMk id="32" creationId="{403F2E13-2A5C-414F-AFCE-208831F11402}"/>
          </ac:spMkLst>
        </pc:spChg>
        <pc:spChg chg="mod">
          <ac:chgData name="Vladimir Proskurin" userId="bd820e96-7ead-40e8-92fa-3e942e2935b9" providerId="ADAL" clId="{6610B43C-6C5B-47C0-9821-7FBBC1741184}" dt="2021-11-23T09:54:04.378" v="123" actId="20577"/>
          <ac:spMkLst>
            <pc:docMk/>
            <pc:sldMk cId="3148983839" sldId="425"/>
            <ac:spMk id="39" creationId="{C3045704-B4A5-4A47-BC97-E5FAA113A8DE}"/>
          </ac:spMkLst>
        </pc:spChg>
      </pc:sldChg>
      <pc:sldChg chg="modSp add del mod">
        <pc:chgData name="Vladimir Proskurin" userId="bd820e96-7ead-40e8-92fa-3e942e2935b9" providerId="ADAL" clId="{6610B43C-6C5B-47C0-9821-7FBBC1741184}" dt="2021-11-23T10:30:31.067" v="722" actId="20577"/>
        <pc:sldMkLst>
          <pc:docMk/>
          <pc:sldMk cId="2463216518" sldId="426"/>
        </pc:sldMkLst>
        <pc:spChg chg="mod">
          <ac:chgData name="Vladimir Proskurin" userId="bd820e96-7ead-40e8-92fa-3e942e2935b9" providerId="ADAL" clId="{6610B43C-6C5B-47C0-9821-7FBBC1741184}" dt="2021-11-23T10:30:31.067" v="722" actId="20577"/>
          <ac:spMkLst>
            <pc:docMk/>
            <pc:sldMk cId="2463216518" sldId="426"/>
            <ac:spMk id="17" creationId="{97BA8130-C94B-4B80-81E0-1FD677235E89}"/>
          </ac:spMkLst>
        </pc:spChg>
        <pc:spChg chg="mod">
          <ac:chgData name="Vladimir Proskurin" userId="bd820e96-7ead-40e8-92fa-3e942e2935b9" providerId="ADAL" clId="{6610B43C-6C5B-47C0-9821-7FBBC1741184}" dt="2021-11-23T10:29:16.890" v="643" actId="20577"/>
          <ac:spMkLst>
            <pc:docMk/>
            <pc:sldMk cId="2463216518" sldId="426"/>
            <ac:spMk id="49" creationId="{DA11AF0C-E80D-4FC2-A1F2-0A2EFB02808D}"/>
          </ac:spMkLst>
        </pc:spChg>
        <pc:spChg chg="mod">
          <ac:chgData name="Vladimir Proskurin" userId="bd820e96-7ead-40e8-92fa-3e942e2935b9" providerId="ADAL" clId="{6610B43C-6C5B-47C0-9821-7FBBC1741184}" dt="2021-11-23T10:29:23.694" v="647" actId="20577"/>
          <ac:spMkLst>
            <pc:docMk/>
            <pc:sldMk cId="2463216518" sldId="426"/>
            <ac:spMk id="52" creationId="{9A844D77-F750-49A8-AC22-71D10E9E8E17}"/>
          </ac:spMkLst>
        </pc:spChg>
        <pc:spChg chg="mod">
          <ac:chgData name="Vladimir Proskurin" userId="bd820e96-7ead-40e8-92fa-3e942e2935b9" providerId="ADAL" clId="{6610B43C-6C5B-47C0-9821-7FBBC1741184}" dt="2021-11-23T10:30:08.763" v="690" actId="20577"/>
          <ac:spMkLst>
            <pc:docMk/>
            <pc:sldMk cId="2463216518" sldId="426"/>
            <ac:spMk id="55" creationId="{D99EB1CA-50C7-4C96-8713-33A2F8B8052B}"/>
          </ac:spMkLst>
        </pc:spChg>
        <pc:spChg chg="mod">
          <ac:chgData name="Vladimir Proskurin" userId="bd820e96-7ead-40e8-92fa-3e942e2935b9" providerId="ADAL" clId="{6610B43C-6C5B-47C0-9821-7FBBC1741184}" dt="2021-11-23T10:29:53.485" v="681" actId="20577"/>
          <ac:spMkLst>
            <pc:docMk/>
            <pc:sldMk cId="2463216518" sldId="426"/>
            <ac:spMk id="60" creationId="{AFA08CF6-178A-4622-91EC-3C02D655C72B}"/>
          </ac:spMkLst>
        </pc:spChg>
      </pc:sldChg>
      <pc:sldChg chg="modSp add del mod modTransition">
        <pc:chgData name="Vladimir Proskurin" userId="bd820e96-7ead-40e8-92fa-3e942e2935b9" providerId="ADAL" clId="{6610B43C-6C5B-47C0-9821-7FBBC1741184}" dt="2021-11-23T10:33:32.401" v="1036" actId="20577"/>
        <pc:sldMkLst>
          <pc:docMk/>
          <pc:sldMk cId="2415153363" sldId="427"/>
        </pc:sldMkLst>
        <pc:spChg chg="mod">
          <ac:chgData name="Vladimir Proskurin" userId="bd820e96-7ead-40e8-92fa-3e942e2935b9" providerId="ADAL" clId="{6610B43C-6C5B-47C0-9821-7FBBC1741184}" dt="2021-11-23T09:38:40.774" v="0"/>
          <ac:spMkLst>
            <pc:docMk/>
            <pc:sldMk cId="2415153363" sldId="427"/>
            <ac:spMk id="5" creationId="{EBB9B641-A470-49C3-9397-4EF66BA56261}"/>
          </ac:spMkLst>
        </pc:spChg>
        <pc:spChg chg="mod">
          <ac:chgData name="Vladimir Proskurin" userId="bd820e96-7ead-40e8-92fa-3e942e2935b9" providerId="ADAL" clId="{6610B43C-6C5B-47C0-9821-7FBBC1741184}" dt="2021-11-23T10:31:30.829" v="837" actId="14100"/>
          <ac:spMkLst>
            <pc:docMk/>
            <pc:sldMk cId="2415153363" sldId="427"/>
            <ac:spMk id="25" creationId="{D57BEC00-CAFE-46D9-9186-4FADC72F3A77}"/>
          </ac:spMkLst>
        </pc:spChg>
        <pc:spChg chg="mod">
          <ac:chgData name="Vladimir Proskurin" userId="bd820e96-7ead-40e8-92fa-3e942e2935b9" providerId="ADAL" clId="{6610B43C-6C5B-47C0-9821-7FBBC1741184}" dt="2021-11-23T10:32:21.921" v="888" actId="20577"/>
          <ac:spMkLst>
            <pc:docMk/>
            <pc:sldMk cId="2415153363" sldId="427"/>
            <ac:spMk id="105" creationId="{6D276250-4FED-4AEC-ACFC-7DC64CE752ED}"/>
          </ac:spMkLst>
        </pc:spChg>
        <pc:spChg chg="mod">
          <ac:chgData name="Vladimir Proskurin" userId="bd820e96-7ead-40e8-92fa-3e942e2935b9" providerId="ADAL" clId="{6610B43C-6C5B-47C0-9821-7FBBC1741184}" dt="2021-11-23T10:32:52.799" v="960" actId="20577"/>
          <ac:spMkLst>
            <pc:docMk/>
            <pc:sldMk cId="2415153363" sldId="427"/>
            <ac:spMk id="106" creationId="{5B1FB2DF-536D-403C-BE24-B44485F055F4}"/>
          </ac:spMkLst>
        </pc:spChg>
        <pc:spChg chg="mod">
          <ac:chgData name="Vladimir Proskurin" userId="bd820e96-7ead-40e8-92fa-3e942e2935b9" providerId="ADAL" clId="{6610B43C-6C5B-47C0-9821-7FBBC1741184}" dt="2021-11-23T10:33:32.401" v="1036" actId="20577"/>
          <ac:spMkLst>
            <pc:docMk/>
            <pc:sldMk cId="2415153363" sldId="427"/>
            <ac:spMk id="107" creationId="{B7D95FC5-31DB-4FCE-8496-92D4CD2C7775}"/>
          </ac:spMkLst>
        </pc:spChg>
      </pc:sldChg>
      <pc:sldChg chg="delSp modSp add del mod ord">
        <pc:chgData name="Vladimir Proskurin" userId="bd820e96-7ead-40e8-92fa-3e942e2935b9" providerId="ADAL" clId="{6610B43C-6C5B-47C0-9821-7FBBC1741184}" dt="2021-11-29T10:58:28.014" v="1077" actId="1076"/>
        <pc:sldMkLst>
          <pc:docMk/>
          <pc:sldMk cId="2645785011" sldId="445"/>
        </pc:sldMkLst>
        <pc:spChg chg="mod">
          <ac:chgData name="Vladimir Proskurin" userId="bd820e96-7ead-40e8-92fa-3e942e2935b9" providerId="ADAL" clId="{6610B43C-6C5B-47C0-9821-7FBBC1741184}" dt="2021-11-29T10:58:28.014" v="1077" actId="1076"/>
          <ac:spMkLst>
            <pc:docMk/>
            <pc:sldMk cId="2645785011" sldId="445"/>
            <ac:spMk id="5" creationId="{BFC22C05-83DC-40CE-9CFB-89C2545A86C5}"/>
          </ac:spMkLst>
        </pc:spChg>
        <pc:spChg chg="del">
          <ac:chgData name="Vladimir Proskurin" userId="bd820e96-7ead-40e8-92fa-3e942e2935b9" providerId="ADAL" clId="{6610B43C-6C5B-47C0-9821-7FBBC1741184}" dt="2021-11-29T10:58:19.651" v="1076" actId="478"/>
          <ac:spMkLst>
            <pc:docMk/>
            <pc:sldMk cId="2645785011" sldId="445"/>
            <ac:spMk id="14" creationId="{7E634D64-B837-465F-B9C3-805C986B8602}"/>
          </ac:spMkLst>
        </pc:spChg>
      </pc:sldChg>
      <pc:sldChg chg="addSp delSp modSp mod ord">
        <pc:chgData name="Vladimir Proskurin" userId="bd820e96-7ead-40e8-92fa-3e942e2935b9" providerId="ADAL" clId="{6610B43C-6C5B-47C0-9821-7FBBC1741184}" dt="2021-11-29T10:57:07.909" v="1075" actId="478"/>
        <pc:sldMkLst>
          <pc:docMk/>
          <pc:sldMk cId="2054230155" sldId="463"/>
        </pc:sldMkLst>
        <pc:spChg chg="del mod">
          <ac:chgData name="Vladimir Proskurin" userId="bd820e96-7ead-40e8-92fa-3e942e2935b9" providerId="ADAL" clId="{6610B43C-6C5B-47C0-9821-7FBBC1741184}" dt="2021-11-23T09:44:01.407" v="12" actId="478"/>
          <ac:spMkLst>
            <pc:docMk/>
            <pc:sldMk cId="2054230155" sldId="463"/>
            <ac:spMk id="5" creationId="{FB034529-2A06-4CC1-96B5-D4ED901EBC49}"/>
          </ac:spMkLst>
        </pc:spChg>
        <pc:spChg chg="add del mod">
          <ac:chgData name="Vladimir Proskurin" userId="bd820e96-7ead-40e8-92fa-3e942e2935b9" providerId="ADAL" clId="{6610B43C-6C5B-47C0-9821-7FBBC1741184}" dt="2021-11-29T10:57:05.838" v="1074" actId="478"/>
          <ac:spMkLst>
            <pc:docMk/>
            <pc:sldMk cId="2054230155" sldId="463"/>
            <ac:spMk id="6" creationId="{C5D91367-11C8-4E66-B14A-DA993D814CBD}"/>
          </ac:spMkLst>
        </pc:spChg>
        <pc:spChg chg="add mod">
          <ac:chgData name="Vladimir Proskurin" userId="bd820e96-7ead-40e8-92fa-3e942e2935b9" providerId="ADAL" clId="{6610B43C-6C5B-47C0-9821-7FBBC1741184}" dt="2021-11-23T09:44:18.724" v="15" actId="1076"/>
          <ac:spMkLst>
            <pc:docMk/>
            <pc:sldMk cId="2054230155" sldId="463"/>
            <ac:spMk id="8" creationId="{5E4990F0-4B26-421E-B6A4-40ABBFA4E593}"/>
          </ac:spMkLst>
        </pc:spChg>
        <pc:spChg chg="add del mod">
          <ac:chgData name="Vladimir Proskurin" userId="bd820e96-7ead-40e8-92fa-3e942e2935b9" providerId="ADAL" clId="{6610B43C-6C5B-47C0-9821-7FBBC1741184}" dt="2021-11-29T10:57:04.313" v="1073" actId="478"/>
          <ac:spMkLst>
            <pc:docMk/>
            <pc:sldMk cId="2054230155" sldId="463"/>
            <ac:spMk id="9" creationId="{137A2506-9A24-47C0-AA89-C03588B9FAC7}"/>
          </ac:spMkLst>
        </pc:spChg>
        <pc:spChg chg="add del mod">
          <ac:chgData name="Vladimir Proskurin" userId="bd820e96-7ead-40e8-92fa-3e942e2935b9" providerId="ADAL" clId="{6610B43C-6C5B-47C0-9821-7FBBC1741184}" dt="2021-11-29T10:57:07.909" v="1075" actId="478"/>
          <ac:spMkLst>
            <pc:docMk/>
            <pc:sldMk cId="2054230155" sldId="463"/>
            <ac:spMk id="10" creationId="{1D868B56-6B54-4707-85F3-CD5BE2F4AF30}"/>
          </ac:spMkLst>
        </pc:spChg>
        <pc:spChg chg="add del mod">
          <ac:chgData name="Vladimir Proskurin" userId="bd820e96-7ead-40e8-92fa-3e942e2935b9" providerId="ADAL" clId="{6610B43C-6C5B-47C0-9821-7FBBC1741184}" dt="2021-11-23T09:44:10.458" v="14" actId="478"/>
          <ac:spMkLst>
            <pc:docMk/>
            <pc:sldMk cId="2054230155" sldId="463"/>
            <ac:spMk id="11" creationId="{2B4BA99C-6BB7-4056-A69B-050E967143A6}"/>
          </ac:spMkLst>
        </pc:spChg>
      </pc:sldChg>
      <pc:sldChg chg="modSp mod ord">
        <pc:chgData name="Vladimir Proskurin" userId="bd820e96-7ead-40e8-92fa-3e942e2935b9" providerId="ADAL" clId="{6610B43C-6C5B-47C0-9821-7FBBC1741184}" dt="2021-11-23T09:50:25.397" v="93" actId="20577"/>
        <pc:sldMkLst>
          <pc:docMk/>
          <pc:sldMk cId="188857331" sldId="842"/>
        </pc:sldMkLst>
        <pc:spChg chg="mod">
          <ac:chgData name="Vladimir Proskurin" userId="bd820e96-7ead-40e8-92fa-3e942e2935b9" providerId="ADAL" clId="{6610B43C-6C5B-47C0-9821-7FBBC1741184}" dt="2021-11-23T09:50:25.397" v="93" actId="20577"/>
          <ac:spMkLst>
            <pc:docMk/>
            <pc:sldMk cId="188857331" sldId="842"/>
            <ac:spMk id="3" creationId="{60C35B53-753B-424E-B7AB-27965DE43CFF}"/>
          </ac:spMkLst>
        </pc:spChg>
      </pc:sldChg>
      <pc:sldChg chg="del">
        <pc:chgData name="Vladimir Proskurin" userId="bd820e96-7ead-40e8-92fa-3e942e2935b9" providerId="ADAL" clId="{6610B43C-6C5B-47C0-9821-7FBBC1741184}" dt="2021-11-23T09:51:10.267" v="94" actId="47"/>
        <pc:sldMkLst>
          <pc:docMk/>
          <pc:sldMk cId="855894847" sldId="1221"/>
        </pc:sldMkLst>
      </pc:sldChg>
      <pc:sldChg chg="modNotesTx">
        <pc:chgData name="Vladimir Proskurin" userId="bd820e96-7ead-40e8-92fa-3e942e2935b9" providerId="ADAL" clId="{6610B43C-6C5B-47C0-9821-7FBBC1741184}" dt="2021-11-29T10:55:07.756" v="1072" actId="313"/>
        <pc:sldMkLst>
          <pc:docMk/>
          <pc:sldMk cId="4021406667" sldId="1232"/>
        </pc:sldMkLst>
      </pc:sldChg>
      <pc:sldChg chg="del">
        <pc:chgData name="Vladimir Proskurin" userId="bd820e96-7ead-40e8-92fa-3e942e2935b9" providerId="ADAL" clId="{6610B43C-6C5B-47C0-9821-7FBBC1741184}" dt="2021-11-23T09:51:32.073" v="95" actId="47"/>
        <pc:sldMkLst>
          <pc:docMk/>
          <pc:sldMk cId="4025738770" sldId="1236"/>
        </pc:sldMkLst>
      </pc:sldChg>
      <pc:sldChg chg="del">
        <pc:chgData name="Vladimir Proskurin" userId="bd820e96-7ead-40e8-92fa-3e942e2935b9" providerId="ADAL" clId="{6610B43C-6C5B-47C0-9821-7FBBC1741184}" dt="2021-11-23T09:53:23.647" v="97" actId="47"/>
        <pc:sldMkLst>
          <pc:docMk/>
          <pc:sldMk cId="1569227626" sldId="2147373309"/>
        </pc:sldMkLst>
        <pc:spChg chg="mod">
          <ac:chgData name="Vladimir Proskurin" userId="bd820e96-7ead-40e8-92fa-3e942e2935b9" providerId="ADAL" clId="{6610B43C-6C5B-47C0-9821-7FBBC1741184}" dt="2021-11-23T10:34:29.079" v="1059" actId="20577"/>
          <ac:spMkLst>
            <pc:docMk/>
            <pc:sldMk cId="1569227626" sldId="2147373309"/>
            <ac:spMk id="3" creationId="{60C35B53-753B-424E-B7AB-27965DE43CFF}"/>
          </ac:spMkLst>
        </pc:spChg>
      </pc:sldChg>
      <pc:sldChg chg="add del">
        <pc:chgData name="Vladimir Proskurin" userId="bd820e96-7ead-40e8-92fa-3e942e2935b9" providerId="ADAL" clId="{6610B43C-6C5B-47C0-9821-7FBBC1741184}" dt="2021-11-23T10:34:16.894" v="1038"/>
        <pc:sldMkLst>
          <pc:docMk/>
          <pc:sldMk cId="3986249338" sldId="2147373309"/>
        </pc:sldMkLst>
      </pc:sldChg>
      <pc:sldChg chg="del">
        <pc:chgData name="Vladimir Proskurin" userId="bd820e96-7ead-40e8-92fa-3e942e2935b9" providerId="ADAL" clId="{6610B43C-6C5B-47C0-9821-7FBBC1741184}" dt="2021-11-23T09:39:22.764" v="7" actId="47"/>
        <pc:sldMkLst>
          <pc:docMk/>
          <pc:sldMk cId="0" sldId="2147373310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FD0FF8E-AD6C-48C6-BCA2-9941E1E3A20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73777" y="2"/>
            <a:ext cx="2760269" cy="495347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AE2D18-DC98-444A-8A8A-7D09977137A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563633" y="2"/>
            <a:ext cx="2760267" cy="495347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200"/>
            </a:lvl1pPr>
          </a:lstStyle>
          <a:p>
            <a:fld id="{C742B7D5-EC82-44F6-A7E1-F7BEEB78D862}" type="datetimeFigureOut">
              <a:rPr lang="en-US" sz="1000" smtClean="0"/>
              <a:t>30-Nov-21</a:t>
            </a:fld>
            <a:endParaRPr lang="en-US" sz="10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38B8B2-A215-46EA-ACE8-421665D33BA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174144" y="9377318"/>
            <a:ext cx="4212498" cy="49534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B1F3DC-01D1-4439-A13F-6E96C67139A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3778" y="9377318"/>
            <a:ext cx="484077" cy="49534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200"/>
            </a:lvl1pPr>
          </a:lstStyle>
          <a:p>
            <a:pPr algn="l"/>
            <a:fld id="{9D865D99-2DA9-452F-AC6C-1E9B05A5072B}" type="slidenum">
              <a:rPr lang="en-US" sz="1000" smtClean="0"/>
              <a:pPr algn="l"/>
              <a:t>‹#›</a:t>
            </a:fld>
            <a:endParaRPr lang="en-US" sz="100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58AB3F47-462C-4908-95C9-67DEF5E02D9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97732" y="9038130"/>
            <a:ext cx="726165" cy="495349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50329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79768" y="2"/>
            <a:ext cx="3450337" cy="495347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10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439089" y="2"/>
            <a:ext cx="1677247" cy="495347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1000"/>
            </a:lvl1pPr>
          </a:lstStyle>
          <a:p>
            <a:fld id="{E79CEAD0-6B03-44FC-A844-68ECB8F6C6E8}" type="datetimeFigureOut">
              <a:rPr lang="en-US" smtClean="0"/>
              <a:pPr/>
              <a:t>30-Nov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20"/>
            <a:ext cx="5438140" cy="388736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472830" y="9377318"/>
            <a:ext cx="4645078" cy="49534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79768" y="9377318"/>
            <a:ext cx="516548" cy="49534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/>
            </a:lvl1pPr>
          </a:lstStyle>
          <a:p>
            <a:fld id="{F17EFD21-3E0D-4ED5-96F2-31052EE08DB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5179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300"/>
      </a:spcAft>
      <a:buFont typeface="Arial" panose="020B0604020202020204" pitchFamily="34" charset="0"/>
      <a:buNone/>
      <a:defRPr sz="1100" kern="1200">
        <a:solidFill>
          <a:schemeClr val="tx1"/>
        </a:solidFill>
        <a:latin typeface="+mj-lt"/>
        <a:ea typeface="+mn-ea"/>
        <a:cs typeface="+mn-cs"/>
      </a:defRPr>
    </a:lvl1pPr>
    <a:lvl2pPr marL="341313" indent="-168275" algn="l" defTabSz="914400" rtl="0" eaLnBrk="1" latinLnBrk="0" hangingPunct="1">
      <a:buFont typeface="Aktiv Grotesk" panose="020B0504020202020204" pitchFamily="34" charset="0"/>
      <a:buChar char="•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514350" indent="-171450" algn="l" defTabSz="914400" rtl="0" eaLnBrk="1" latinLnBrk="0" hangingPunct="1">
      <a:buFont typeface="Aktiv Grotesk" panose="020B0504020202020204" pitchFamily="34" charset="0"/>
      <a:buChar char="−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628650" indent="-171450" algn="l" defTabSz="914400" rtl="0" eaLnBrk="1" latinLnBrk="0" hangingPunct="1">
      <a:buFont typeface="Aktiv Grotesk" panose="020B0504020202020204" pitchFamily="34" charset="0"/>
      <a:buChar char="▪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0" indent="0" algn="l" defTabSz="914400" rtl="0" eaLnBrk="1" latinLnBrk="0" hangingPunct="1">
      <a:defRPr sz="1100" kern="1200">
        <a:solidFill>
          <a:srgbClr val="1E32FA"/>
        </a:solidFill>
        <a:latin typeface="+mj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8156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7EFD21-3E0D-4ED5-96F2-31052EE08D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45145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7EFD21-3E0D-4ED5-96F2-31052EE08D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23896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2743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4850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tr-TR" sz="1800" dirty="0">
              <a:effectLst/>
              <a:latin typeface="Calibri" panose="020F0502020204030204" pitchFamily="34" charset="0"/>
              <a:ea typeface="Aktiv Grotesk" panose="020B05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3580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6421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0033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7EFD21-3E0D-4ED5-96F2-31052EE08DB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0299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24D599-8961-4485-8B96-B828C0329545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12254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7EFD21-3E0D-4ED5-96F2-31052EE08D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5848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AutoNum type="arabicPeriod"/>
            </a:pPr>
            <a:endParaRPr lang="LID4096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7EFD21-3E0D-4ED5-96F2-31052EE08D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5138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40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40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EE11BD8-6580-41DD-940E-B1D1B8B2E21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8F5EBA1-C1C2-4F6F-970D-CFE4A81E1DB0}" type="datetime3">
              <a:rPr lang="en-US" smtClean="0"/>
              <a:pPr/>
              <a:t>30 November 2021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97A30E8-35A3-4CE7-93BA-293D648C86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9738BE3-1506-4C98-A8EE-0BB4912D32C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973905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WHITE_TextSlide_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821CC-265E-473E-BD96-BC93B6A49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077074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Text+Photo-Lef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8B7BACE-70C4-4F80-BCD0-7E136DB191B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0" y="365125"/>
            <a:ext cx="5524500" cy="6126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6500" y="1905000"/>
            <a:ext cx="5524500" cy="38481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39C2CD7C-D157-49CA-9B42-072B41A0E43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541952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YELLOW_TextSlide_3-colum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0999" y="1485900"/>
            <a:ext cx="3383280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03346" y="1485900"/>
            <a:ext cx="3383280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C9A967D-8A0B-4436-A012-333049F84F2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427044" y="1485900"/>
            <a:ext cx="3383280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B0CA6FB-F4AA-4540-82B0-769F5705AC0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150132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TextSlide_Photo+1-colum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5524500" cy="609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7026"/>
            <a:ext cx="5523824" cy="38560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2BD715A7-CDAB-4300-87D7-26DDB8999B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1"/>
            <a:ext cx="6096001" cy="6111545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36A464A-4F95-4360-AE3A-3F0BBC9F2BD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626814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TextSlide_BigNumb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485900"/>
            <a:ext cx="5524500" cy="1943100"/>
          </a:xfrm>
        </p:spPr>
        <p:txBody>
          <a:bodyPr/>
          <a:lstStyle>
            <a:lvl1pPr>
              <a:defRPr sz="16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XX%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3568439"/>
            <a:ext cx="5523824" cy="218466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defRPr sz="3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2BD715A7-CDAB-4300-87D7-26DDB8999B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1"/>
            <a:ext cx="6096001" cy="6111545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CDBB281C-D40B-4B39-8865-D7919E21E9A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708094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Photo+BigQuote-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869E21B-A703-4EDF-B4FA-B5E512E463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9B35DB1-D7AC-4FA8-B932-26B3A103D00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81000" y="3799539"/>
            <a:ext cx="11430000" cy="1768289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5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big quote styl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7BADDEA-6299-45BD-9DB8-3EEDFE605B5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452060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Photo+BigQuote-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6375DDD-61B4-4459-A66A-CEC3372C4C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915849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Photo+BigQuote-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0" y="381000"/>
            <a:ext cx="5524500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AB2DE4D-F1FC-4BA9-B358-1D103D0C430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776023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W_Photo+BigQuote-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9BFDFF1-D561-4CB4-8671-0D7DA52470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3E096526-C973-46F6-AB2C-609EB331D51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6757577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Photo+BigQuote+Text-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2368296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6375DDD-61B4-4459-A66A-CEC3372C4C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76B3E68-DCF7-4DC7-A72A-79FF45E81F4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3149600"/>
            <a:ext cx="4735916" cy="2603499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2000">
                <a:solidFill>
                  <a:schemeClr val="tx1"/>
                </a:solidFill>
              </a:defRPr>
            </a:lvl6pPr>
            <a:lvl7pPr>
              <a:defRPr sz="2000">
                <a:solidFill>
                  <a:schemeClr val="tx1"/>
                </a:solidFill>
              </a:defRPr>
            </a:lvl7pPr>
            <a:lvl8pPr>
              <a:defRPr sz="2000">
                <a:solidFill>
                  <a:schemeClr val="tx1"/>
                </a:solidFill>
              </a:defRPr>
            </a:lvl8pPr>
            <a:lvl9pPr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930108108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Photo+BigQuote+Text-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0" y="381000"/>
            <a:ext cx="5524500" cy="2368296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75B245F-C94A-459B-BB3F-BAC29F619DA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86500" y="3149600"/>
            <a:ext cx="5524500" cy="2603499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2000">
                <a:solidFill>
                  <a:schemeClr val="tx1"/>
                </a:solidFill>
              </a:defRPr>
            </a:lvl6pPr>
            <a:lvl7pPr>
              <a:defRPr sz="2000">
                <a:solidFill>
                  <a:schemeClr val="tx1"/>
                </a:solidFill>
              </a:defRPr>
            </a:lvl7pPr>
            <a:lvl8pPr>
              <a:defRPr sz="2000">
                <a:solidFill>
                  <a:schemeClr val="tx1"/>
                </a:solidFill>
              </a:defRPr>
            </a:lvl8pPr>
            <a:lvl9pPr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13CDB4DA-5C6D-44B7-A767-96FFABB7B1D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5789151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ITE_TextSlide_Half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0D5365A-1D51-48D2-BB5E-7CDA8F408426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0" y="-4558"/>
            <a:ext cx="5905164" cy="6862558"/>
          </a:xfrm>
          <a:prstGeom prst="rect">
            <a:avLst/>
          </a:prstGeom>
          <a:solidFill>
            <a:srgbClr val="1E32FA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755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FD74FC4-6EF4-4B89-840F-93E75041C2DB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503" y="-4558"/>
            <a:ext cx="6286499" cy="6862558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755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767402"/>
            <a:ext cx="5111325" cy="609397"/>
          </a:xfrm>
        </p:spPr>
        <p:txBody>
          <a:bodyPr/>
          <a:lstStyle>
            <a:lvl1pPr>
              <a:defRPr sz="3413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mparative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676" y="2718415"/>
            <a:ext cx="5110700" cy="3857976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09E20E3-6C3E-4148-8F5D-27D6B62EFA1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86501" y="768038"/>
            <a:ext cx="5524500" cy="61264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3413" b="1">
                <a:solidFill>
                  <a:schemeClr val="tx1"/>
                </a:solidFill>
                <a:latin typeface="+mn-lt"/>
              </a:defRPr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en-US" dirty="0"/>
              <a:t>Comparative 2</a:t>
            </a:r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5A949449-F255-4361-8BF8-A4CDBDEC0CD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55908" y="5753100"/>
            <a:ext cx="954416" cy="642425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rgbClr val="1E32FA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92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5ABD352-75D5-460F-8F27-7B1085F143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1412575"/>
            <a:ext cx="5144347" cy="1098598"/>
          </a:xfrm>
        </p:spPr>
        <p:txBody>
          <a:bodyPr/>
          <a:lstStyle>
            <a:lvl1pPr>
              <a:defRPr sz="768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135%</a:t>
            </a:r>
            <a:endParaRPr lang="LID4096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B7B7F9-C639-46E5-88E1-83587D00DA26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86501" y="2718415"/>
            <a:ext cx="5110700" cy="3857976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3pPr>
            <a:lvl4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4pPr>
            <a:lvl5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966CB1CF-08DC-47F5-A746-D6AD3059F7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5825" y="1412575"/>
            <a:ext cx="5144347" cy="1098598"/>
          </a:xfrm>
        </p:spPr>
        <p:txBody>
          <a:bodyPr/>
          <a:lstStyle>
            <a:lvl1pPr>
              <a:defRPr sz="768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135%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3128287773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ELLOW_Title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8DDC4C2-B309-46F9-93EE-2A439F5A606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893668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YELLOW_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EE6DE-DB4F-403B-BA90-BC5667D01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D84F6999-4C13-4ECB-A99F-AE6BC02E0F1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49968E4-3883-47E8-9206-D6E79AEE846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69D1A04-0DDE-40AE-8DB1-7A5C21F5955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4414900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Big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B767A-0100-4E11-94C6-E29DB60EA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49A295-A729-4A3F-A328-98B789BCC4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B1B8D0-0A04-44D4-83D7-83E48E946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7F0A67-BB3A-433B-B6D3-06EE0CD5E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AA8E6C6D-A231-47F4-9EA6-AEFE18AE9F7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681835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BigQuote+Text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B767A-0100-4E11-94C6-E29DB60EA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3260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5CCB49-02C2-43A0-A23F-412EC6F653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905453" y="381000"/>
            <a:ext cx="5905547" cy="612648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49A295-A729-4A3F-A328-98B789BCC4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B1B8D0-0A04-44D4-83D7-83E48E946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7F0A67-BB3A-433B-B6D3-06EE0CD5E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3D29B1E-4BD2-4E78-91D7-0D0DE0F6349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05500" y="1485900"/>
            <a:ext cx="5904824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9708C82E-91DF-4741-AFE8-BEDC4B6483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295756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ThankYou-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B8F16C-570A-470A-AC41-3DFDC1411C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48425" y="0"/>
            <a:ext cx="5753100" cy="5753100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5742127 w 5753100"/>
              <a:gd name="connsiteY3" fmla="*/ 5753100 h 5753100"/>
              <a:gd name="connsiteX4" fmla="*/ 4388 w 5753100"/>
              <a:gd name="connsiteY4" fmla="*/ 297076 h 5753100"/>
              <a:gd name="connsiteX5" fmla="*/ 0 w 5753100"/>
              <a:gd name="connsiteY5" fmla="*/ 123264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5742127" y="5753100"/>
                </a:lnTo>
                <a:cubicBezTo>
                  <a:pt x="2667478" y="5753100"/>
                  <a:pt x="158214" y="3337026"/>
                  <a:pt x="4388" y="297076"/>
                </a:cubicBezTo>
                <a:lnTo>
                  <a:pt x="0" y="123264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061737" cy="2438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contact or  sign off inform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6DCFE607-4678-4F67-AD27-2C23A65607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017102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ThankYou-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2D38E8E-19F8-46C4-BBB3-D11FF77116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57623" y="0"/>
            <a:ext cx="5134377" cy="5134377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0 w 5753100"/>
              <a:gd name="connsiteY3" fmla="*/ 5753100 h 5753100"/>
              <a:gd name="connsiteX4" fmla="*/ 0 w 5753100"/>
              <a:gd name="connsiteY4" fmla="*/ 3836825 h 5753100"/>
              <a:gd name="connsiteX5" fmla="*/ 1915378 w 5753100"/>
              <a:gd name="connsiteY5" fmla="*/ 3836825 h 5753100"/>
              <a:gd name="connsiteX6" fmla="*/ 1915378 w 5753100"/>
              <a:gd name="connsiteY6" fmla="*/ 1919151 h 5753100"/>
              <a:gd name="connsiteX7" fmla="*/ 0 w 5753100"/>
              <a:gd name="connsiteY7" fmla="*/ 1919151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0" y="5753100"/>
                </a:lnTo>
                <a:lnTo>
                  <a:pt x="0" y="3836825"/>
                </a:lnTo>
                <a:lnTo>
                  <a:pt x="1915378" y="3836825"/>
                </a:lnTo>
                <a:lnTo>
                  <a:pt x="1915378" y="1919151"/>
                </a:lnTo>
                <a:lnTo>
                  <a:pt x="0" y="1919151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061737" cy="2438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contact or  sign off inform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9E0ED054-1D07-4032-9849-61CD3B34977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06087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ThankYou-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061737" cy="2438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contact or  sign off information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14E817B0-45E4-4CEA-8DFB-DBD5D757A2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36000" y="0"/>
            <a:ext cx="5256000" cy="5256000"/>
          </a:xfrm>
          <a:custGeom>
            <a:avLst/>
            <a:gdLst>
              <a:gd name="connsiteX0" fmla="*/ 0 w 5256000"/>
              <a:gd name="connsiteY0" fmla="*/ 0 h 5256000"/>
              <a:gd name="connsiteX1" fmla="*/ 4380230 w 5256000"/>
              <a:gd name="connsiteY1" fmla="*/ 0 h 5256000"/>
              <a:gd name="connsiteX2" fmla="*/ 5256000 w 5256000"/>
              <a:gd name="connsiteY2" fmla="*/ 876229 h 5256000"/>
              <a:gd name="connsiteX3" fmla="*/ 4380230 w 5256000"/>
              <a:gd name="connsiteY3" fmla="*/ 876229 h 5256000"/>
              <a:gd name="connsiteX4" fmla="*/ 5256000 w 5256000"/>
              <a:gd name="connsiteY4" fmla="*/ 1752459 h 5256000"/>
              <a:gd name="connsiteX5" fmla="*/ 4380230 w 5256000"/>
              <a:gd name="connsiteY5" fmla="*/ 1752459 h 5256000"/>
              <a:gd name="connsiteX6" fmla="*/ 5256000 w 5256000"/>
              <a:gd name="connsiteY6" fmla="*/ 2628688 h 5256000"/>
              <a:gd name="connsiteX7" fmla="*/ 4380230 w 5256000"/>
              <a:gd name="connsiteY7" fmla="*/ 2628688 h 5256000"/>
              <a:gd name="connsiteX8" fmla="*/ 5256000 w 5256000"/>
              <a:gd name="connsiteY8" fmla="*/ 3503542 h 5256000"/>
              <a:gd name="connsiteX9" fmla="*/ 4380230 w 5256000"/>
              <a:gd name="connsiteY9" fmla="*/ 3503542 h 5256000"/>
              <a:gd name="connsiteX10" fmla="*/ 5256000 w 5256000"/>
              <a:gd name="connsiteY10" fmla="*/ 4379771 h 5256000"/>
              <a:gd name="connsiteX11" fmla="*/ 4380230 w 5256000"/>
              <a:gd name="connsiteY11" fmla="*/ 4379771 h 5256000"/>
              <a:gd name="connsiteX12" fmla="*/ 5256000 w 5256000"/>
              <a:gd name="connsiteY12" fmla="*/ 5256000 h 5256000"/>
              <a:gd name="connsiteX13" fmla="*/ 0 w 5256000"/>
              <a:gd name="connsiteY13" fmla="*/ 5256000 h 525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256000" h="5256000">
                <a:moveTo>
                  <a:pt x="0" y="0"/>
                </a:moveTo>
                <a:lnTo>
                  <a:pt x="4380230" y="0"/>
                </a:lnTo>
                <a:lnTo>
                  <a:pt x="5256000" y="876229"/>
                </a:lnTo>
                <a:lnTo>
                  <a:pt x="4380230" y="876229"/>
                </a:lnTo>
                <a:lnTo>
                  <a:pt x="5256000" y="1752459"/>
                </a:lnTo>
                <a:lnTo>
                  <a:pt x="4380230" y="1752459"/>
                </a:lnTo>
                <a:lnTo>
                  <a:pt x="5256000" y="2628688"/>
                </a:lnTo>
                <a:lnTo>
                  <a:pt x="4380230" y="2628688"/>
                </a:lnTo>
                <a:lnTo>
                  <a:pt x="5256000" y="3503542"/>
                </a:lnTo>
                <a:lnTo>
                  <a:pt x="4380230" y="3503542"/>
                </a:lnTo>
                <a:lnTo>
                  <a:pt x="5256000" y="4379771"/>
                </a:lnTo>
                <a:lnTo>
                  <a:pt x="4380230" y="4379771"/>
                </a:lnTo>
                <a:lnTo>
                  <a:pt x="5256000" y="5256000"/>
                </a:lnTo>
                <a:lnTo>
                  <a:pt x="0" y="5256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D1505AC9-B879-4B48-84E9-DBEA5C07F3A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21916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_Title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40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40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8877799-5BE2-4BEB-8D62-4346F454842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8EFA57A-9CCD-40CD-B5B2-8CEC13FFBF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7A8C5AF-CF06-4298-8D3D-4664B9CBEB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292922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CK_TextSlide_1-colum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821CC-265E-473E-BD96-BC93B6A49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C18883B9-150C-4B66-96C0-286BD843A73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7901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BLACK_TextSlide_2-colum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71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7D0EE275-68B9-47CA-AA01-B9D78854E58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181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WHITE_TextSlide_Half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0D5365A-1D51-48D2-BB5E-7CDA8F408426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0" y="-4558"/>
            <a:ext cx="5905164" cy="686255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755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FD74FC4-6EF4-4B89-840F-93E75041C2DB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503" y="-4558"/>
            <a:ext cx="6286499" cy="6862558"/>
          </a:xfrm>
          <a:prstGeom prst="rect">
            <a:avLst/>
          </a:prstGeom>
          <a:solidFill>
            <a:srgbClr val="FAC832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755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779591"/>
            <a:ext cx="5111325" cy="609397"/>
          </a:xfrm>
        </p:spPr>
        <p:txBody>
          <a:bodyPr/>
          <a:lstStyle>
            <a:lvl1pPr>
              <a:defRPr sz="3413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mparative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676" y="2730603"/>
            <a:ext cx="5110700" cy="3857976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09E20E3-6C3E-4148-8F5D-27D6B62EFA1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86501" y="768035"/>
            <a:ext cx="5524500" cy="61264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3413" b="1">
                <a:solidFill>
                  <a:schemeClr val="tx1"/>
                </a:solidFill>
                <a:latin typeface="+mn-lt"/>
              </a:defRPr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en-US" dirty="0"/>
              <a:t>Comparative 2</a:t>
            </a:r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5A949449-F255-4361-8BF8-A4CDBDEC0CD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55908" y="5753100"/>
            <a:ext cx="954416" cy="642425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92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5ABD352-75D5-460F-8F27-7B1085F143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1424763"/>
            <a:ext cx="5144347" cy="1098598"/>
          </a:xfrm>
        </p:spPr>
        <p:txBody>
          <a:bodyPr/>
          <a:lstStyle>
            <a:lvl1pPr>
              <a:defRPr sz="768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135%</a:t>
            </a:r>
            <a:endParaRPr lang="LID4096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B7B7F9-C639-46E5-88E1-83587D00DA26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86501" y="2730603"/>
            <a:ext cx="5110700" cy="3857976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3pPr>
            <a:lvl4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4pPr>
            <a:lvl5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966CB1CF-08DC-47F5-A746-D6AD3059F7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5825" y="1424763"/>
            <a:ext cx="5144347" cy="1098598"/>
          </a:xfrm>
        </p:spPr>
        <p:txBody>
          <a:bodyPr/>
          <a:lstStyle>
            <a:lvl1pPr>
              <a:defRPr sz="768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135%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1435306404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_TextSlide_HalfYEL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A3E5526-44A7-4802-9622-D2E3D788FC3F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500" y="-4559"/>
            <a:ext cx="6286499" cy="68625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5111496" cy="60939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5124"/>
            <a:ext cx="5111496" cy="38579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A361C7D-7C39-4CCC-9D8D-DF9D6DCE322D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86500" y="1895124"/>
            <a:ext cx="5523824" cy="38579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567ACBA-C59B-4266-81F7-DC6E4B2871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365760"/>
            <a:ext cx="5524500" cy="61264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4400" b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91611159-BED4-4F11-B305-D8BD68F2E24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621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BLACK_TextSlide_Comparison-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30000" cy="61264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1214A8-797C-4060-87C6-8AD2576B2F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485900"/>
            <a:ext cx="5524500" cy="612648"/>
          </a:xfrm>
        </p:spPr>
        <p:txBody>
          <a:bodyPr anchor="t" anchorCtr="0"/>
          <a:lstStyle>
            <a:lvl1pPr marL="0" indent="0">
              <a:buNone/>
              <a:defRPr sz="2800" b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2098548"/>
            <a:ext cx="5524500" cy="365455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8E02DB-026F-4957-99F9-809354C0EE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1485900"/>
            <a:ext cx="5524500" cy="612648"/>
          </a:xfrm>
        </p:spPr>
        <p:txBody>
          <a:bodyPr anchor="t" anchorCtr="0"/>
          <a:lstStyle>
            <a:lvl1pPr marL="0" indent="0">
              <a:buNone/>
              <a:defRPr sz="2800" b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556944C-3AA2-4F0B-A504-74A0CCAAEF6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86500" y="2098548"/>
            <a:ext cx="5524500" cy="365455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47B931C2-3F38-477B-8405-48DB0A96E2D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30726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Text+Photo-R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BBA4AE0-84B6-41F0-A8CC-D24FC8EA4DE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4736592" cy="61264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1922820"/>
            <a:ext cx="4736592" cy="383027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F592BA7B-AADA-4DC9-8B8B-4791FE2A73B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520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Text+Photo-Le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BBA4AE0-84B6-41F0-A8CC-D24FC8EA4DE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9" y="365125"/>
            <a:ext cx="5523825" cy="61264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6499" y="1922820"/>
            <a:ext cx="5523825" cy="383027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21C9C208-5B7F-4A23-B7BE-DC7341D9A52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5294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BLACK_TextSlide_3-colum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5" y="1485900"/>
            <a:ext cx="3383280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04697" y="1485900"/>
            <a:ext cx="3383280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C9A967D-8A0B-4436-A012-333049F84F2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427720" y="1485900"/>
            <a:ext cx="3383280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EF59CB51-EDCC-4E7E-9A59-440FB21C7FE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5544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TextSlide_Photo+1-colum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5524500" cy="609398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7026"/>
            <a:ext cx="5523824" cy="385607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2BD715A7-CDAB-4300-87D7-26DDB8999B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1"/>
            <a:ext cx="6096001" cy="6111545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6E7ED97A-75C8-4AD5-B878-00E047D6A88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5704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TextSlide_BigNumb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485900"/>
            <a:ext cx="5524500" cy="1943100"/>
          </a:xfrm>
        </p:spPr>
        <p:txBody>
          <a:bodyPr/>
          <a:lstStyle>
            <a:lvl1pPr>
              <a:defRPr sz="16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XX%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3568439"/>
            <a:ext cx="5523824" cy="218466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defRPr sz="3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2BD715A7-CDAB-4300-87D7-26DDB8999B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1"/>
            <a:ext cx="6096001" cy="6111545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0ACA4E46-B5DF-4A5D-A98F-F3FF237869D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7468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Photo+BigQuote-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869E21B-A703-4EDF-B4FA-B5E512E463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9B35DB1-D7AC-4FA8-B932-26B3A103D00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81000" y="3799539"/>
            <a:ext cx="11430000" cy="1768289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540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big quote styl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2D805209-7EA7-4A80-8A7F-D182893B3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42625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Photo+BigQuote-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5372100"/>
          </a:xfrm>
        </p:spPr>
        <p:txBody>
          <a:bodyPr anchor="t" anchorCtr="0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6375DDD-61B4-4459-A66A-CEC3372C4C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4399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Photo+BigQuote-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0" y="381000"/>
            <a:ext cx="5524500" cy="5372100"/>
          </a:xfrm>
        </p:spPr>
        <p:txBody>
          <a:bodyPr anchor="t" anchorCtr="0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455D0C4D-AD19-44D2-9D62-610FA618C52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1025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WHITE_TextSlide_Half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0D5365A-1D51-48D2-BB5E-7CDA8F408426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0" y="-4558"/>
            <a:ext cx="5905164" cy="6862558"/>
          </a:xfrm>
          <a:prstGeom prst="rect">
            <a:avLst/>
          </a:prstGeom>
          <a:solidFill>
            <a:srgbClr val="F04632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755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FD74FC4-6EF4-4B89-840F-93E75041C2DB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503" y="-4558"/>
            <a:ext cx="6286499" cy="6862558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755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755210"/>
            <a:ext cx="5111325" cy="609397"/>
          </a:xfrm>
        </p:spPr>
        <p:txBody>
          <a:bodyPr/>
          <a:lstStyle>
            <a:lvl1pPr>
              <a:defRPr sz="3413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mparative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676" y="2706223"/>
            <a:ext cx="5110700" cy="3857976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09E20E3-6C3E-4148-8F5D-27D6B62EFA1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86501" y="755846"/>
            <a:ext cx="5524500" cy="61264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3413" b="1">
                <a:solidFill>
                  <a:schemeClr val="tx1"/>
                </a:solidFill>
                <a:latin typeface="+mn-lt"/>
              </a:defRPr>
            </a:lvl1pPr>
            <a:lvl2pPr marL="487695" indent="0">
              <a:buNone/>
              <a:defRPr sz="2133" b="1"/>
            </a:lvl2pPr>
            <a:lvl3pPr marL="975390" indent="0">
              <a:buNone/>
              <a:defRPr sz="1920" b="1"/>
            </a:lvl3pPr>
            <a:lvl4pPr marL="1463086" indent="0">
              <a:buNone/>
              <a:defRPr sz="1707" b="1"/>
            </a:lvl4pPr>
            <a:lvl5pPr marL="1950781" indent="0">
              <a:buNone/>
              <a:defRPr sz="1707" b="1"/>
            </a:lvl5pPr>
            <a:lvl6pPr marL="2438476" indent="0">
              <a:buNone/>
              <a:defRPr sz="1707" b="1"/>
            </a:lvl6pPr>
            <a:lvl7pPr marL="2926171" indent="0">
              <a:buNone/>
              <a:defRPr sz="1707" b="1"/>
            </a:lvl7pPr>
            <a:lvl8pPr marL="3413867" indent="0">
              <a:buNone/>
              <a:defRPr sz="1707" b="1"/>
            </a:lvl8pPr>
            <a:lvl9pPr marL="3901562" indent="0">
              <a:buNone/>
              <a:defRPr sz="1707" b="1"/>
            </a:lvl9pPr>
          </a:lstStyle>
          <a:p>
            <a:pPr lvl="0"/>
            <a:r>
              <a:rPr lang="en-US" dirty="0"/>
              <a:t>Comparative 2</a:t>
            </a:r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5A949449-F255-4361-8BF8-A4CDBDEC0CD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55908" y="5753100"/>
            <a:ext cx="954416" cy="642425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92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5ABD352-75D5-460F-8F27-7B1085F143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1400383"/>
            <a:ext cx="5144347" cy="1098598"/>
          </a:xfrm>
        </p:spPr>
        <p:txBody>
          <a:bodyPr/>
          <a:lstStyle>
            <a:lvl1pPr>
              <a:defRPr sz="768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135%</a:t>
            </a:r>
            <a:endParaRPr lang="LID4096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B7B7F9-C639-46E5-88E1-83587D00DA26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86501" y="2706223"/>
            <a:ext cx="5110700" cy="3857976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1pPr>
            <a:lvl2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3pPr>
            <a:lvl4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4pPr>
            <a:lvl5pPr>
              <a:lnSpc>
                <a:spcPct val="125000"/>
              </a:lnSpc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966CB1CF-08DC-47F5-A746-D6AD3059F7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5825" y="1400383"/>
            <a:ext cx="5144347" cy="1098598"/>
          </a:xfrm>
        </p:spPr>
        <p:txBody>
          <a:bodyPr/>
          <a:lstStyle>
            <a:lvl1pPr>
              <a:defRPr sz="768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135%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148776809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_Photo+BigQuote-4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0F007C-1698-4431-8841-091B8233CEC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4C9045F0-71F1-4313-AC39-D7B161B9F71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2427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Photo+BigQuote+Text-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2368296"/>
          </a:xfrm>
        </p:spPr>
        <p:txBody>
          <a:bodyPr anchor="t" anchorCtr="0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6375DDD-61B4-4459-A66A-CEC3372C4C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80424CD-5F4D-44CB-BB17-4D8BFAB6CC05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3149600"/>
            <a:ext cx="4735916" cy="260349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>
                <a:solidFill>
                  <a:schemeClr val="accent2"/>
                </a:solidFill>
              </a:defRPr>
            </a:lvl5pPr>
            <a:lvl6pPr>
              <a:defRPr sz="2000">
                <a:solidFill>
                  <a:schemeClr val="accent2"/>
                </a:solidFill>
              </a:defRPr>
            </a:lvl6pPr>
            <a:lvl7pPr>
              <a:defRPr sz="2000">
                <a:solidFill>
                  <a:schemeClr val="accent2"/>
                </a:solidFill>
              </a:defRPr>
            </a:lvl7pPr>
            <a:lvl8pPr>
              <a:defRPr sz="2000">
                <a:solidFill>
                  <a:schemeClr val="accent2"/>
                </a:solidFill>
              </a:defRPr>
            </a:lvl8pPr>
            <a:lvl9pPr>
              <a:defRPr sz="20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538201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Photo+BigQuote+Text-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0" y="381000"/>
            <a:ext cx="5524500" cy="2368296"/>
          </a:xfrm>
        </p:spPr>
        <p:txBody>
          <a:bodyPr anchor="t" anchorCtr="0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63D383A-4FBB-4371-AC4C-CB39A283B6D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86500" y="3149600"/>
            <a:ext cx="5524500" cy="260349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>
                <a:solidFill>
                  <a:schemeClr val="accent2"/>
                </a:solidFill>
              </a:defRPr>
            </a:lvl5pPr>
            <a:lvl6pPr>
              <a:defRPr sz="2000">
                <a:solidFill>
                  <a:schemeClr val="accent2"/>
                </a:solidFill>
              </a:defRPr>
            </a:lvl6pPr>
            <a:lvl7pPr>
              <a:defRPr sz="2000">
                <a:solidFill>
                  <a:schemeClr val="accent2"/>
                </a:solidFill>
              </a:defRPr>
            </a:lvl7pPr>
            <a:lvl8pPr>
              <a:defRPr sz="2000">
                <a:solidFill>
                  <a:schemeClr val="accent2"/>
                </a:solidFill>
              </a:defRPr>
            </a:lvl8pPr>
            <a:lvl9pPr>
              <a:defRPr sz="20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1764E60-1637-43D7-88B0-4FDB6157A90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787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LACK_Title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CF7F54E-80AB-4063-BB12-AAA200D8EF8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1061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CK_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EE6DE-DB4F-403B-BA90-BC5667D01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ED4A09D9-7CD1-4D99-9E82-D1C893A1111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5ED3E2B-0380-41B3-8025-7EC2D101F197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C304D98-4A37-473B-8ACA-14E8484099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3264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Big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B767A-0100-4E11-94C6-E29DB60EA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5372100"/>
          </a:xfrm>
        </p:spPr>
        <p:txBody>
          <a:bodyPr anchor="t" anchorCtr="0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49A295-A729-4A3F-A328-98B789BCC4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B1B8D0-0A04-44D4-83D7-83E48E946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7F0A67-BB3A-433B-B6D3-06EE0CD5E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FFC9D8BD-692F-48B8-A978-BF020AC9E86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2491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BigQuote+Text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B767A-0100-4E11-94C6-E29DB60EA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3260" cy="5372100"/>
          </a:xfrm>
        </p:spPr>
        <p:txBody>
          <a:bodyPr anchor="t" anchorCtr="0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5CCB49-02C2-43A0-A23F-412EC6F653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905453" y="381000"/>
            <a:ext cx="5905547" cy="612648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49A295-A729-4A3F-A328-98B789BCC4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B1B8D0-0A04-44D4-83D7-83E48E946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7F0A67-BB3A-433B-B6D3-06EE0CD5E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3D29B1E-4BD2-4E78-91D7-0D0DE0F6349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05500" y="1485900"/>
            <a:ext cx="5904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9040CE5-DACD-46AC-AB0E-2AA2427378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976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ThankYou-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B8F16C-570A-470A-AC41-3DFDC1411C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48425" y="0"/>
            <a:ext cx="5753100" cy="5753100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5742127 w 5753100"/>
              <a:gd name="connsiteY3" fmla="*/ 5753100 h 5753100"/>
              <a:gd name="connsiteX4" fmla="*/ 4388 w 5753100"/>
              <a:gd name="connsiteY4" fmla="*/ 297076 h 5753100"/>
              <a:gd name="connsiteX5" fmla="*/ 0 w 5753100"/>
              <a:gd name="connsiteY5" fmla="*/ 123264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5742127" y="5753100"/>
                </a:lnTo>
                <a:cubicBezTo>
                  <a:pt x="2667478" y="5753100"/>
                  <a:pt x="158214" y="3337026"/>
                  <a:pt x="4388" y="297076"/>
                </a:cubicBezTo>
                <a:lnTo>
                  <a:pt x="0" y="123264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061737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 sign off inform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150EA07F-3431-48E6-A579-4CE383134E4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6244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ThankYou-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2D38E8E-19F8-46C4-BBB3-D11FF77116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57623" y="0"/>
            <a:ext cx="5134377" cy="5134377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0 w 5753100"/>
              <a:gd name="connsiteY3" fmla="*/ 5753100 h 5753100"/>
              <a:gd name="connsiteX4" fmla="*/ 0 w 5753100"/>
              <a:gd name="connsiteY4" fmla="*/ 3836825 h 5753100"/>
              <a:gd name="connsiteX5" fmla="*/ 1915378 w 5753100"/>
              <a:gd name="connsiteY5" fmla="*/ 3836825 h 5753100"/>
              <a:gd name="connsiteX6" fmla="*/ 1915378 w 5753100"/>
              <a:gd name="connsiteY6" fmla="*/ 1919151 h 5753100"/>
              <a:gd name="connsiteX7" fmla="*/ 0 w 5753100"/>
              <a:gd name="connsiteY7" fmla="*/ 1919151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0" y="5753100"/>
                </a:lnTo>
                <a:lnTo>
                  <a:pt x="0" y="3836825"/>
                </a:lnTo>
                <a:lnTo>
                  <a:pt x="1915378" y="3836825"/>
                </a:lnTo>
                <a:lnTo>
                  <a:pt x="1915378" y="1919151"/>
                </a:lnTo>
                <a:lnTo>
                  <a:pt x="0" y="1919151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061737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 sign off inform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C3FC96-0CE9-4854-A14B-04D01A927A4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320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_ThankYou-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061737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 sign off information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14E817B0-45E4-4CEA-8DFB-DBD5D757A2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36000" y="0"/>
            <a:ext cx="5256000" cy="5256000"/>
          </a:xfrm>
          <a:custGeom>
            <a:avLst/>
            <a:gdLst>
              <a:gd name="connsiteX0" fmla="*/ 0 w 5256000"/>
              <a:gd name="connsiteY0" fmla="*/ 0 h 5256000"/>
              <a:gd name="connsiteX1" fmla="*/ 4380230 w 5256000"/>
              <a:gd name="connsiteY1" fmla="*/ 0 h 5256000"/>
              <a:gd name="connsiteX2" fmla="*/ 5256000 w 5256000"/>
              <a:gd name="connsiteY2" fmla="*/ 876229 h 5256000"/>
              <a:gd name="connsiteX3" fmla="*/ 4380230 w 5256000"/>
              <a:gd name="connsiteY3" fmla="*/ 876229 h 5256000"/>
              <a:gd name="connsiteX4" fmla="*/ 5256000 w 5256000"/>
              <a:gd name="connsiteY4" fmla="*/ 1752459 h 5256000"/>
              <a:gd name="connsiteX5" fmla="*/ 4380230 w 5256000"/>
              <a:gd name="connsiteY5" fmla="*/ 1752459 h 5256000"/>
              <a:gd name="connsiteX6" fmla="*/ 5256000 w 5256000"/>
              <a:gd name="connsiteY6" fmla="*/ 2628688 h 5256000"/>
              <a:gd name="connsiteX7" fmla="*/ 4380230 w 5256000"/>
              <a:gd name="connsiteY7" fmla="*/ 2628688 h 5256000"/>
              <a:gd name="connsiteX8" fmla="*/ 5256000 w 5256000"/>
              <a:gd name="connsiteY8" fmla="*/ 3503542 h 5256000"/>
              <a:gd name="connsiteX9" fmla="*/ 4380230 w 5256000"/>
              <a:gd name="connsiteY9" fmla="*/ 3503542 h 5256000"/>
              <a:gd name="connsiteX10" fmla="*/ 5256000 w 5256000"/>
              <a:gd name="connsiteY10" fmla="*/ 4379771 h 5256000"/>
              <a:gd name="connsiteX11" fmla="*/ 4380230 w 5256000"/>
              <a:gd name="connsiteY11" fmla="*/ 4379771 h 5256000"/>
              <a:gd name="connsiteX12" fmla="*/ 5256000 w 5256000"/>
              <a:gd name="connsiteY12" fmla="*/ 5256000 h 5256000"/>
              <a:gd name="connsiteX13" fmla="*/ 0 w 5256000"/>
              <a:gd name="connsiteY13" fmla="*/ 5256000 h 525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256000" h="5256000">
                <a:moveTo>
                  <a:pt x="0" y="0"/>
                </a:moveTo>
                <a:lnTo>
                  <a:pt x="4380230" y="0"/>
                </a:lnTo>
                <a:lnTo>
                  <a:pt x="5256000" y="876229"/>
                </a:lnTo>
                <a:lnTo>
                  <a:pt x="4380230" y="876229"/>
                </a:lnTo>
                <a:lnTo>
                  <a:pt x="5256000" y="1752459"/>
                </a:lnTo>
                <a:lnTo>
                  <a:pt x="4380230" y="1752459"/>
                </a:lnTo>
                <a:lnTo>
                  <a:pt x="5256000" y="2628688"/>
                </a:lnTo>
                <a:lnTo>
                  <a:pt x="4380230" y="2628688"/>
                </a:lnTo>
                <a:lnTo>
                  <a:pt x="5256000" y="3503542"/>
                </a:lnTo>
                <a:lnTo>
                  <a:pt x="4380230" y="3503542"/>
                </a:lnTo>
                <a:lnTo>
                  <a:pt x="5256000" y="4379771"/>
                </a:lnTo>
                <a:lnTo>
                  <a:pt x="4380230" y="4379771"/>
                </a:lnTo>
                <a:lnTo>
                  <a:pt x="5256000" y="5256000"/>
                </a:lnTo>
                <a:lnTo>
                  <a:pt x="0" y="5256000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B9EBAA26-D6F4-46C6-983A-B6DE51FD742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577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Text+Photo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263EF67-71D6-425F-9F93-AD2BCA30BD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669E4F-79DE-4594-B939-024364C633DE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0" y="-4558"/>
            <a:ext cx="5905164" cy="6862558"/>
          </a:xfrm>
          <a:prstGeom prst="rect">
            <a:avLst/>
          </a:prstGeom>
          <a:solidFill>
            <a:srgbClr val="1E32FA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755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DE20311-28B4-4D1E-838D-4E73FE5A9F4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55908" y="5753100"/>
            <a:ext cx="954416" cy="642425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92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E9439C9-7BB7-44F8-94B7-76F0DD0A02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676" y="2484526"/>
            <a:ext cx="5110700" cy="3857976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4786BD3-64AA-42AE-A6EB-747F1F3416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723376"/>
            <a:ext cx="5144347" cy="1397718"/>
          </a:xfrm>
        </p:spPr>
        <p:txBody>
          <a:bodyPr/>
          <a:lstStyle>
            <a:lvl1pPr>
              <a:defRPr sz="512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he main message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2754925227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_Title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40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40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8877799-5BE2-4BEB-8D62-4346F454842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8EFA57A-9CCD-40CD-B5B2-8CEC13FFBF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7A8C5AF-CF06-4298-8D3D-4664B9CBEB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132768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ED_TextSlide_1-colum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821CC-265E-473E-BD96-BC93B6A49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A6DFB178-B048-451E-923D-BB189109F3E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9335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ED_TextSlide_2-colum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485900"/>
            <a:ext cx="5523824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7176" y="1485900"/>
            <a:ext cx="5523824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A4179290-03CD-4E5D-94FB-C699D16A81B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8286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_TextSlide_HalfWHIT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A3E5526-44A7-4802-9622-D2E3D788FC3F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500" y="-4558"/>
            <a:ext cx="6286499" cy="68625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5111496" cy="609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5124"/>
            <a:ext cx="5111496" cy="38579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A361C7D-7C39-4CCC-9D8D-DF9D6DCE322D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86500" y="1895124"/>
            <a:ext cx="5523824" cy="38579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567ACBA-C59B-4266-81F7-DC6E4B2871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365760"/>
            <a:ext cx="5524500" cy="61264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4400" b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91611159-BED4-4F11-B305-D8BD68F2E24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5534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RED_TextSlide_Comparison-Cont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30000" cy="6126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1214A8-797C-4060-87C6-8AD2576B2F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485900"/>
            <a:ext cx="5524500" cy="612648"/>
          </a:xfrm>
        </p:spPr>
        <p:txBody>
          <a:bodyPr anchor="t" anchorCtr="0"/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>
                <a:solidFill>
                  <a:schemeClr val="tx1"/>
                </a:solidFill>
              </a:defRPr>
            </a:lvl2pPr>
            <a:lvl3pPr marL="914400" indent="0">
              <a:buNone/>
              <a:defRPr sz="1800" b="1">
                <a:solidFill>
                  <a:schemeClr val="tx1"/>
                </a:solidFill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</a:defRPr>
            </a:lvl5pPr>
            <a:lvl6pPr marL="2286000" indent="0">
              <a:buNone/>
              <a:defRPr sz="1600" b="1">
                <a:solidFill>
                  <a:schemeClr val="tx1"/>
                </a:solidFill>
              </a:defRPr>
            </a:lvl6pPr>
            <a:lvl7pPr marL="2743200" indent="0">
              <a:buNone/>
              <a:defRPr sz="1600" b="1">
                <a:solidFill>
                  <a:schemeClr val="tx1"/>
                </a:solidFill>
              </a:defRPr>
            </a:lvl7pPr>
            <a:lvl8pPr marL="3200400" indent="0">
              <a:buNone/>
              <a:defRPr sz="1600" b="1">
                <a:solidFill>
                  <a:schemeClr val="tx1"/>
                </a:solidFill>
              </a:defRPr>
            </a:lvl8pPr>
            <a:lvl9pPr marL="3657600" indent="0"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2098548"/>
            <a:ext cx="5524500" cy="36545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8E02DB-026F-4957-99F9-809354C0EE4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86500" y="1485900"/>
            <a:ext cx="5524500" cy="612648"/>
          </a:xfrm>
        </p:spPr>
        <p:txBody>
          <a:bodyPr anchor="t" anchorCtr="0"/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>
                <a:solidFill>
                  <a:schemeClr val="tx1"/>
                </a:solidFill>
              </a:defRPr>
            </a:lvl2pPr>
            <a:lvl3pPr marL="914400" indent="0">
              <a:buNone/>
              <a:defRPr sz="1800" b="1">
                <a:solidFill>
                  <a:schemeClr val="tx1"/>
                </a:solidFill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</a:defRPr>
            </a:lvl5pPr>
            <a:lvl6pPr marL="2286000" indent="0">
              <a:buNone/>
              <a:defRPr sz="1600" b="1">
                <a:solidFill>
                  <a:schemeClr val="tx1"/>
                </a:solidFill>
              </a:defRPr>
            </a:lvl6pPr>
            <a:lvl7pPr marL="2743200" indent="0">
              <a:buNone/>
              <a:defRPr sz="1600" b="1">
                <a:solidFill>
                  <a:schemeClr val="tx1"/>
                </a:solidFill>
              </a:defRPr>
            </a:lvl7pPr>
            <a:lvl8pPr marL="3200400" indent="0">
              <a:buNone/>
              <a:defRPr sz="1600" b="1">
                <a:solidFill>
                  <a:schemeClr val="tx1"/>
                </a:solidFill>
              </a:defRPr>
            </a:lvl8pPr>
            <a:lvl9pPr marL="3657600" indent="0"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556944C-3AA2-4F0B-A504-74A0CCAAEF6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86500" y="2098548"/>
            <a:ext cx="5524500" cy="36545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E2FC51CF-76BF-40BB-916E-1E40A475A13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104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_Text+Photo-Righ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A9A3C25-B848-47B2-8158-65939204C24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4736592" cy="6126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1905000"/>
            <a:ext cx="4736592" cy="38481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6C9D61FD-9901-4C03-B149-4AEABFC8291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1385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_Text+Photo-Lef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A9A3C25-B848-47B2-8158-65939204C24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9" y="365125"/>
            <a:ext cx="5523825" cy="6126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6499" y="1905000"/>
            <a:ext cx="5523825" cy="38481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4A53432B-F6ED-496C-94D2-FF43B4DEB14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6188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RED_TextSlide_3-colum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5" y="1485900"/>
            <a:ext cx="3383280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04697" y="1485900"/>
            <a:ext cx="3383280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C9A967D-8A0B-4436-A012-333049F84F2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427720" y="1485900"/>
            <a:ext cx="3383280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68CE1D3-325F-4639-85FA-6AE9779DE19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075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_TextSlide_Photo+1-colum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5524500" cy="609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7026"/>
            <a:ext cx="5523824" cy="38560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2BD715A7-CDAB-4300-87D7-26DDB8999B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1"/>
            <a:ext cx="6096001" cy="6111545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92EF1E90-E1E3-4FD5-8177-A93F8249DC5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016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_TextSlide_BigNumb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485900"/>
            <a:ext cx="5524500" cy="1943100"/>
          </a:xfrm>
        </p:spPr>
        <p:txBody>
          <a:bodyPr/>
          <a:lstStyle>
            <a:lvl1pPr>
              <a:defRPr sz="16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XX%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3568439"/>
            <a:ext cx="5523824" cy="218466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defRPr sz="3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2BD715A7-CDAB-4300-87D7-26DDB8999B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1"/>
            <a:ext cx="6096001" cy="6111545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27CDFAA2-59B0-4CC9-ACC4-9C53BBBAD7E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061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Text+Photo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3089B0-E846-4F6F-8048-C75C9E3B6D5C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837" y="-4558"/>
            <a:ext cx="6286163" cy="6862558"/>
          </a:xfrm>
          <a:prstGeom prst="rect">
            <a:avLst/>
          </a:prstGeom>
          <a:solidFill>
            <a:srgbClr val="1E32FA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755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263EF67-71D6-425F-9F93-AD2BCA30BD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558F451E-44E2-43D8-A1EB-A7BEE9B0210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55908" y="5753100"/>
            <a:ext cx="954416" cy="642425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92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1491A38-D76D-46A2-B940-1B7FF5CCBA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79197" y="2435763"/>
            <a:ext cx="5110700" cy="3857976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B0CC948-B2B6-495E-8F38-289BD6311E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8522" y="674613"/>
            <a:ext cx="5144347" cy="1397718"/>
          </a:xfrm>
        </p:spPr>
        <p:txBody>
          <a:bodyPr/>
          <a:lstStyle>
            <a:lvl1pPr>
              <a:defRPr sz="512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he main message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614856620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_Photo+BigQuote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869E21B-A703-4EDF-B4FA-B5E512E463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9B35DB1-D7AC-4FA8-B932-26B3A103D00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81000" y="3799539"/>
            <a:ext cx="11430000" cy="1768289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5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big quote style</a:t>
            </a:r>
          </a:p>
          <a:p>
            <a:pPr lvl="0"/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E3DBF2-CBD2-4D3B-8E24-DDA69BA745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988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_Photo+BigQuote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6375DDD-61B4-4459-A66A-CEC3372C4C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18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_Photo+BigQuote-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0" y="381000"/>
            <a:ext cx="5524500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DDF890AD-C43C-41FA-8362-17EB76F398A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4125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_Photo+BigQuote-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0F007C-1698-4431-8841-091B8233CEC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4C9045F0-71F1-4313-AC39-D7B161B9F71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742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_Photo+BigQuote+Text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2368296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6375DDD-61B4-4459-A66A-CEC3372C4C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B2B8829-4A64-4533-8959-182AFDAE8E3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3149600"/>
            <a:ext cx="4735916" cy="2603499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2000">
                <a:solidFill>
                  <a:schemeClr val="tx1"/>
                </a:solidFill>
              </a:defRPr>
            </a:lvl6pPr>
            <a:lvl7pPr>
              <a:defRPr sz="2000">
                <a:solidFill>
                  <a:schemeClr val="tx1"/>
                </a:solidFill>
              </a:defRPr>
            </a:lvl7pPr>
            <a:lvl8pPr>
              <a:defRPr sz="2000">
                <a:solidFill>
                  <a:schemeClr val="tx1"/>
                </a:solidFill>
              </a:defRPr>
            </a:lvl8pPr>
            <a:lvl9pPr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7170673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_Photo+BigQuote+Text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0" y="381000"/>
            <a:ext cx="5524500" cy="2368296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F4F7380-7674-46B1-9978-0792ABE2DDD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86500" y="3149600"/>
            <a:ext cx="5524500" cy="2603499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2000">
                <a:solidFill>
                  <a:schemeClr val="tx1"/>
                </a:solidFill>
              </a:defRPr>
            </a:lvl6pPr>
            <a:lvl7pPr>
              <a:defRPr sz="2000">
                <a:solidFill>
                  <a:schemeClr val="tx1"/>
                </a:solidFill>
              </a:defRPr>
            </a:lvl7pPr>
            <a:lvl8pPr>
              <a:defRPr sz="2000">
                <a:solidFill>
                  <a:schemeClr val="tx1"/>
                </a:solidFill>
              </a:defRPr>
            </a:lvl8pPr>
            <a:lvl9pPr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93C80BE2-2CE6-48E9-8C51-C4403E18468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1941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RED_TitleOnl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AF4C7C9-A088-43D4-BEC9-FA86E2A1104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319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RED_Bla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EE6DE-DB4F-403B-BA90-BC5667D01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F072B6A1-5AA5-42B3-949E-A76672C6990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F38E630-ACE9-4AF3-B7AB-518CFE979EA1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F0C5823-AEDB-4F61-A643-DEDC8C481CA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7382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_BigQuot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B767A-0100-4E11-94C6-E29DB60EA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49A295-A729-4A3F-A328-98B789BCC4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B1B8D0-0A04-44D4-83D7-83E48E946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7F0A67-BB3A-433B-B6D3-06EE0CD5E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443B2335-A20B-475F-BE4A-508921B76D3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220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_BigQuote+Text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B767A-0100-4E11-94C6-E29DB60EA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3260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5CCB49-02C2-43A0-A23F-412EC6F653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905453" y="381000"/>
            <a:ext cx="5905547" cy="612648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49A295-A729-4A3F-A328-98B789BCC4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B1B8D0-0A04-44D4-83D7-83E48E946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7F0A67-BB3A-433B-B6D3-06EE0CD5E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3D29B1E-4BD2-4E78-91D7-0D0DE0F6349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05500" y="1485900"/>
            <a:ext cx="5904824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ACD12792-CF0E-464E-8010-F6ADA3BBC30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1076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Text+Photo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263EF67-71D6-425F-9F93-AD2BCA30BD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669E4F-79DE-4594-B939-024364C633DE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0" y="-4558"/>
            <a:ext cx="5905164" cy="6862558"/>
          </a:xfrm>
          <a:prstGeom prst="rect">
            <a:avLst/>
          </a:prstGeom>
          <a:solidFill>
            <a:srgbClr val="F04632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755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DE20311-28B4-4D1E-838D-4E73FE5A9F4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55908" y="5753100"/>
            <a:ext cx="954416" cy="642425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92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E9439C9-7BB7-44F8-94B7-76F0DD0A02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676" y="2545466"/>
            <a:ext cx="5110700" cy="3857976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4786BD3-64AA-42AE-A6EB-747F1F3416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784316"/>
            <a:ext cx="5144347" cy="1397718"/>
          </a:xfrm>
        </p:spPr>
        <p:txBody>
          <a:bodyPr/>
          <a:lstStyle>
            <a:lvl1pPr>
              <a:defRPr sz="512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he main message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149625928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_ThankYou-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B8F16C-570A-470A-AC41-3DFDC1411C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48425" y="0"/>
            <a:ext cx="5753100" cy="5753100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5742127 w 5753100"/>
              <a:gd name="connsiteY3" fmla="*/ 5753100 h 5753100"/>
              <a:gd name="connsiteX4" fmla="*/ 4388 w 5753100"/>
              <a:gd name="connsiteY4" fmla="*/ 297076 h 5753100"/>
              <a:gd name="connsiteX5" fmla="*/ 0 w 5753100"/>
              <a:gd name="connsiteY5" fmla="*/ 123264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5742127" y="5753100"/>
                </a:lnTo>
                <a:cubicBezTo>
                  <a:pt x="2667478" y="5753100"/>
                  <a:pt x="158214" y="3337026"/>
                  <a:pt x="4388" y="297076"/>
                </a:cubicBezTo>
                <a:lnTo>
                  <a:pt x="0" y="123264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061737" cy="2438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contact or  sign off inform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64C040F1-D495-4484-8EB8-998BE432AA9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10888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_ThankYou-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2D38E8E-19F8-46C4-BBB3-D11FF77116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57623" y="0"/>
            <a:ext cx="5134377" cy="5134377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0 w 5753100"/>
              <a:gd name="connsiteY3" fmla="*/ 5753100 h 5753100"/>
              <a:gd name="connsiteX4" fmla="*/ 0 w 5753100"/>
              <a:gd name="connsiteY4" fmla="*/ 3836825 h 5753100"/>
              <a:gd name="connsiteX5" fmla="*/ 1915378 w 5753100"/>
              <a:gd name="connsiteY5" fmla="*/ 3836825 h 5753100"/>
              <a:gd name="connsiteX6" fmla="*/ 1915378 w 5753100"/>
              <a:gd name="connsiteY6" fmla="*/ 1919151 h 5753100"/>
              <a:gd name="connsiteX7" fmla="*/ 0 w 5753100"/>
              <a:gd name="connsiteY7" fmla="*/ 1919151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0" y="5753100"/>
                </a:lnTo>
                <a:lnTo>
                  <a:pt x="0" y="3836825"/>
                </a:lnTo>
                <a:lnTo>
                  <a:pt x="1915378" y="3836825"/>
                </a:lnTo>
                <a:lnTo>
                  <a:pt x="1915378" y="1919151"/>
                </a:lnTo>
                <a:lnTo>
                  <a:pt x="0" y="1919151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061737" cy="2438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contact or  sign off inform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35603D1-D5AB-4F12-9780-59652DE47E1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2043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_ThankYou-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061737" cy="2438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contact or  sign off information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14E817B0-45E4-4CEA-8DFB-DBD5D757A2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36000" y="0"/>
            <a:ext cx="5256000" cy="5256000"/>
          </a:xfrm>
          <a:custGeom>
            <a:avLst/>
            <a:gdLst>
              <a:gd name="connsiteX0" fmla="*/ 0 w 5256000"/>
              <a:gd name="connsiteY0" fmla="*/ 0 h 5256000"/>
              <a:gd name="connsiteX1" fmla="*/ 4380230 w 5256000"/>
              <a:gd name="connsiteY1" fmla="*/ 0 h 5256000"/>
              <a:gd name="connsiteX2" fmla="*/ 5256000 w 5256000"/>
              <a:gd name="connsiteY2" fmla="*/ 876229 h 5256000"/>
              <a:gd name="connsiteX3" fmla="*/ 4380230 w 5256000"/>
              <a:gd name="connsiteY3" fmla="*/ 876229 h 5256000"/>
              <a:gd name="connsiteX4" fmla="*/ 5256000 w 5256000"/>
              <a:gd name="connsiteY4" fmla="*/ 1752459 h 5256000"/>
              <a:gd name="connsiteX5" fmla="*/ 4380230 w 5256000"/>
              <a:gd name="connsiteY5" fmla="*/ 1752459 h 5256000"/>
              <a:gd name="connsiteX6" fmla="*/ 5256000 w 5256000"/>
              <a:gd name="connsiteY6" fmla="*/ 2628688 h 5256000"/>
              <a:gd name="connsiteX7" fmla="*/ 4380230 w 5256000"/>
              <a:gd name="connsiteY7" fmla="*/ 2628688 h 5256000"/>
              <a:gd name="connsiteX8" fmla="*/ 5256000 w 5256000"/>
              <a:gd name="connsiteY8" fmla="*/ 3503542 h 5256000"/>
              <a:gd name="connsiteX9" fmla="*/ 4380230 w 5256000"/>
              <a:gd name="connsiteY9" fmla="*/ 3503542 h 5256000"/>
              <a:gd name="connsiteX10" fmla="*/ 5256000 w 5256000"/>
              <a:gd name="connsiteY10" fmla="*/ 4379771 h 5256000"/>
              <a:gd name="connsiteX11" fmla="*/ 4380230 w 5256000"/>
              <a:gd name="connsiteY11" fmla="*/ 4379771 h 5256000"/>
              <a:gd name="connsiteX12" fmla="*/ 5256000 w 5256000"/>
              <a:gd name="connsiteY12" fmla="*/ 5256000 h 5256000"/>
              <a:gd name="connsiteX13" fmla="*/ 0 w 5256000"/>
              <a:gd name="connsiteY13" fmla="*/ 5256000 h 525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256000" h="5256000">
                <a:moveTo>
                  <a:pt x="0" y="0"/>
                </a:moveTo>
                <a:lnTo>
                  <a:pt x="4380230" y="0"/>
                </a:lnTo>
                <a:lnTo>
                  <a:pt x="5256000" y="876229"/>
                </a:lnTo>
                <a:lnTo>
                  <a:pt x="4380230" y="876229"/>
                </a:lnTo>
                <a:lnTo>
                  <a:pt x="5256000" y="1752459"/>
                </a:lnTo>
                <a:lnTo>
                  <a:pt x="4380230" y="1752459"/>
                </a:lnTo>
                <a:lnTo>
                  <a:pt x="5256000" y="2628688"/>
                </a:lnTo>
                <a:lnTo>
                  <a:pt x="4380230" y="2628688"/>
                </a:lnTo>
                <a:lnTo>
                  <a:pt x="5256000" y="3503542"/>
                </a:lnTo>
                <a:lnTo>
                  <a:pt x="4380230" y="3503542"/>
                </a:lnTo>
                <a:lnTo>
                  <a:pt x="5256000" y="4379771"/>
                </a:lnTo>
                <a:lnTo>
                  <a:pt x="4380230" y="4379771"/>
                </a:lnTo>
                <a:lnTo>
                  <a:pt x="5256000" y="5256000"/>
                </a:lnTo>
                <a:lnTo>
                  <a:pt x="0" y="5256000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6D5D01C3-A6EC-41DB-9B7B-4D5A02E65C7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955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_Title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40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40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8877799-5BE2-4BEB-8D62-4346F454842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8EFA57A-9CCD-40CD-B5B2-8CEC13FFBF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7A8C5AF-CF06-4298-8D3D-4664B9CBEB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797517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UE_TextSlide_1-colum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821CC-265E-473E-BD96-BC93B6A49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F9F4429E-D099-41C4-8D1C-0F2ECCD739E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2489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BLUE_TextSlide_2-colum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485900"/>
            <a:ext cx="5523824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7176" y="1485900"/>
            <a:ext cx="5523824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3FC3C6D7-76C0-45C1-84D1-A1982F2EF4A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939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_TextSlide_HalfWHI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A3E5526-44A7-4802-9622-D2E3D788FC3F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500" y="-4558"/>
            <a:ext cx="6286499" cy="68625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5111496" cy="609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5124"/>
            <a:ext cx="5111496" cy="38579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A361C7D-7C39-4CCC-9D8D-DF9D6DCE322D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86500" y="1895124"/>
            <a:ext cx="5523824" cy="38579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0567ACBA-C59B-4266-81F7-DC6E4B2871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365760"/>
            <a:ext cx="5524500" cy="61264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4400" b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91611159-BED4-4F11-B305-D8BD68F2E24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5646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BLUE_TextSlide_Comparison-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30000" cy="6126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1214A8-797C-4060-87C6-8AD2576B2F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1000" y="1485900"/>
            <a:ext cx="5524500" cy="612648"/>
          </a:xfrm>
        </p:spPr>
        <p:txBody>
          <a:bodyPr anchor="t" anchorCtr="0"/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>
                <a:solidFill>
                  <a:schemeClr val="tx1"/>
                </a:solidFill>
              </a:defRPr>
            </a:lvl2pPr>
            <a:lvl3pPr marL="914400" indent="0">
              <a:buNone/>
              <a:defRPr sz="1800" b="1">
                <a:solidFill>
                  <a:schemeClr val="tx1"/>
                </a:solidFill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</a:defRPr>
            </a:lvl5pPr>
            <a:lvl6pPr marL="2286000" indent="0">
              <a:buNone/>
              <a:defRPr sz="1600" b="1">
                <a:solidFill>
                  <a:schemeClr val="tx1"/>
                </a:solidFill>
              </a:defRPr>
            </a:lvl6pPr>
            <a:lvl7pPr marL="2743200" indent="0">
              <a:buNone/>
              <a:defRPr sz="1600" b="1">
                <a:solidFill>
                  <a:schemeClr val="tx1"/>
                </a:solidFill>
              </a:defRPr>
            </a:lvl7pPr>
            <a:lvl8pPr marL="3200400" indent="0">
              <a:buNone/>
              <a:defRPr sz="1600" b="1">
                <a:solidFill>
                  <a:schemeClr val="tx1"/>
                </a:solidFill>
              </a:defRPr>
            </a:lvl8pPr>
            <a:lvl9pPr marL="3657600" indent="0"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2098548"/>
            <a:ext cx="5524500" cy="36545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8E02DB-026F-4957-99F9-809354C0EE4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86500" y="1485900"/>
            <a:ext cx="5524500" cy="612648"/>
          </a:xfrm>
        </p:spPr>
        <p:txBody>
          <a:bodyPr anchor="t" anchorCtr="0"/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>
                <a:solidFill>
                  <a:schemeClr val="tx1"/>
                </a:solidFill>
              </a:defRPr>
            </a:lvl2pPr>
            <a:lvl3pPr marL="914400" indent="0">
              <a:buNone/>
              <a:defRPr sz="1800" b="1">
                <a:solidFill>
                  <a:schemeClr val="tx1"/>
                </a:solidFill>
              </a:defRPr>
            </a:lvl3pPr>
            <a:lvl4pPr marL="1371600" indent="0">
              <a:buNone/>
              <a:defRPr sz="1600" b="1">
                <a:solidFill>
                  <a:schemeClr val="tx1"/>
                </a:solidFill>
              </a:defRPr>
            </a:lvl4pPr>
            <a:lvl5pPr marL="1828800" indent="0">
              <a:buNone/>
              <a:defRPr sz="1600" b="1">
                <a:solidFill>
                  <a:schemeClr val="tx1"/>
                </a:solidFill>
              </a:defRPr>
            </a:lvl5pPr>
            <a:lvl6pPr marL="2286000" indent="0">
              <a:buNone/>
              <a:defRPr sz="1600" b="1">
                <a:solidFill>
                  <a:schemeClr val="tx1"/>
                </a:solidFill>
              </a:defRPr>
            </a:lvl6pPr>
            <a:lvl7pPr marL="2743200" indent="0">
              <a:buNone/>
              <a:defRPr sz="1600" b="1">
                <a:solidFill>
                  <a:schemeClr val="tx1"/>
                </a:solidFill>
              </a:defRPr>
            </a:lvl7pPr>
            <a:lvl8pPr marL="3200400" indent="0">
              <a:buNone/>
              <a:defRPr sz="1600" b="1">
                <a:solidFill>
                  <a:schemeClr val="tx1"/>
                </a:solidFill>
              </a:defRPr>
            </a:lvl8pPr>
            <a:lvl9pPr marL="3657600" indent="0">
              <a:buNone/>
              <a:defRPr sz="16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556944C-3AA2-4F0B-A504-74A0CCAAEF6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86500" y="2098548"/>
            <a:ext cx="5524500" cy="36545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AC0E104E-F2EE-444F-9E67-997B32DA999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251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Text+Photo-Righ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A9A3C25-B848-47B2-8158-65939204C24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4736592" cy="6126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1905000"/>
            <a:ext cx="4736592" cy="38481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6C9D61FD-9901-4C03-B149-4AEABFC8291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2096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Text+Photo-Lef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A9A3C25-B848-47B2-8158-65939204C24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9" y="365125"/>
            <a:ext cx="5523825" cy="6126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6499" y="1905000"/>
            <a:ext cx="5523825" cy="38481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D71B4EF3-53FA-4D69-8461-7E075022031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768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_Text+Photo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3089B0-E846-4F6F-8048-C75C9E3B6D5C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837" y="-4558"/>
            <a:ext cx="6286163" cy="6862558"/>
          </a:xfrm>
          <a:prstGeom prst="rect">
            <a:avLst/>
          </a:prstGeom>
          <a:solidFill>
            <a:srgbClr val="F04632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755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263EF67-71D6-425F-9F93-AD2BCA30BD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558F451E-44E2-43D8-A1EB-A7BEE9B0210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55908" y="5753100"/>
            <a:ext cx="954416" cy="642425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92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1491A38-D76D-46A2-B940-1B7FF5CCBA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79197" y="2435763"/>
            <a:ext cx="5110700" cy="3857976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B0CC948-B2B6-495E-8F38-289BD6311E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8522" y="674613"/>
            <a:ext cx="5144347" cy="1397718"/>
          </a:xfrm>
        </p:spPr>
        <p:txBody>
          <a:bodyPr/>
          <a:lstStyle>
            <a:lvl1pPr>
              <a:defRPr sz="512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he main message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2287670433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BLUE_TextSlide_3-colum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5" y="1485900"/>
            <a:ext cx="3383280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04697" y="1485900"/>
            <a:ext cx="3383280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C9A967D-8A0B-4436-A012-333049F84F2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427720" y="1485900"/>
            <a:ext cx="3383280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48F0F731-22F3-490A-9B60-4CF05DAED2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1647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TextSlide_Photo+1-colum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5524500" cy="609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7026"/>
            <a:ext cx="5523824" cy="38560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2BD715A7-CDAB-4300-87D7-26DDB8999B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1"/>
            <a:ext cx="6096001" cy="6111545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006C1386-C4A3-45CF-912A-FBAE5A22E98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43047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TextSlide_BigNumb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485900"/>
            <a:ext cx="5524500" cy="1943100"/>
          </a:xfrm>
        </p:spPr>
        <p:txBody>
          <a:bodyPr/>
          <a:lstStyle>
            <a:lvl1pPr>
              <a:defRPr sz="16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XX%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3568439"/>
            <a:ext cx="5523824" cy="218466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defRPr sz="3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2BD715A7-CDAB-4300-87D7-26DDB8999B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1"/>
            <a:ext cx="6096001" cy="6111545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A730362-0647-4520-8B69-206FDE30BAF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910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Photo+BigQuote-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869E21B-A703-4EDF-B4FA-B5E512E463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9B35DB1-D7AC-4FA8-B932-26B3A103D00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81000" y="3799539"/>
            <a:ext cx="11430000" cy="1768289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5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big quote style</a:t>
            </a:r>
          </a:p>
          <a:p>
            <a:pPr lvl="0"/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42331782-C3BA-4F33-B173-A1691598FFC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4039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Photo+BigQuote-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6375DDD-61B4-4459-A66A-CEC3372C4C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0892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Photo+BigQuote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0" y="381000"/>
            <a:ext cx="5524500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478EFB3D-9D32-4A4C-A209-BB5CC963498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8784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_Photo+BigQuote-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C0F007C-1698-4431-8841-091B8233CEC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4C9045F0-71F1-4313-AC39-D7B161B9F71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1124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Photo+BigQuote+Text-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2368296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6375DDD-61B4-4459-A66A-CEC3372C4C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B2B8829-4A64-4533-8959-182AFDAE8E3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3149600"/>
            <a:ext cx="4735916" cy="2603499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2000">
                <a:solidFill>
                  <a:schemeClr val="tx1"/>
                </a:solidFill>
              </a:defRPr>
            </a:lvl6pPr>
            <a:lvl7pPr>
              <a:defRPr sz="2000">
                <a:solidFill>
                  <a:schemeClr val="tx1"/>
                </a:solidFill>
              </a:defRPr>
            </a:lvl7pPr>
            <a:lvl8pPr>
              <a:defRPr sz="2000">
                <a:solidFill>
                  <a:schemeClr val="tx1"/>
                </a:solidFill>
              </a:defRPr>
            </a:lvl8pPr>
            <a:lvl9pPr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867638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Photo+BigQuote+Text-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tx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0" y="381000"/>
            <a:ext cx="5524500" cy="2368296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F4F7380-7674-46B1-9978-0792ABE2DDD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86500" y="3149600"/>
            <a:ext cx="5524500" cy="2603499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defRPr sz="2000">
                <a:solidFill>
                  <a:schemeClr val="tx1"/>
                </a:solidFill>
              </a:defRPr>
            </a:lvl6pPr>
            <a:lvl7pPr>
              <a:defRPr sz="2000">
                <a:solidFill>
                  <a:schemeClr val="tx1"/>
                </a:solidFill>
              </a:defRPr>
            </a:lvl7pPr>
            <a:lvl8pPr>
              <a:defRPr sz="2000">
                <a:solidFill>
                  <a:schemeClr val="tx1"/>
                </a:solidFill>
              </a:defRPr>
            </a:lvl8pPr>
            <a:lvl9pPr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9D42542F-A7B6-4F74-92BB-48BF9DFC9E6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5625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LUE_Title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38B00631-87C7-4CA9-B46A-A89E9BFD91A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1335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Text+Photo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263EF67-71D6-425F-9F93-AD2BCA30BD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669E4F-79DE-4594-B939-024364C633DE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0" y="-4558"/>
            <a:ext cx="5905164" cy="686255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755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DE20311-28B4-4D1E-838D-4E73FE5A9F4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55908" y="5753100"/>
            <a:ext cx="954416" cy="642425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92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E9439C9-7BB7-44F8-94B7-76F0DD0A02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676" y="2545466"/>
            <a:ext cx="5110700" cy="3857976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4786BD3-64AA-42AE-A6EB-747F1F3416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784316"/>
            <a:ext cx="5144347" cy="1397718"/>
          </a:xfrm>
        </p:spPr>
        <p:txBody>
          <a:bodyPr/>
          <a:lstStyle>
            <a:lvl1pPr>
              <a:defRPr sz="512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he main message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3304750489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UE_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EE6DE-DB4F-403B-BA90-BC5667D01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FF11F80A-B06A-4D70-B7CF-0199ACDE4C6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4A5AB40-48BA-4442-A379-CE820FC57505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9A1121-2D9C-44DB-9BD2-0A1408B1784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5116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Big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B767A-0100-4E11-94C6-E29DB60EA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49A295-A729-4A3F-A328-98B789BCC4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B1B8D0-0A04-44D4-83D7-83E48E946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7F0A67-BB3A-433B-B6D3-06EE0CD5E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D5888877-0535-4C21-8D42-304A2C2BD32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175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BigQuote+Text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B767A-0100-4E11-94C6-E29DB60EA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3260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5CCB49-02C2-43A0-A23F-412EC6F653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905453" y="381000"/>
            <a:ext cx="5905547" cy="612648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49A295-A729-4A3F-A328-98B789BCC4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B1B8D0-0A04-44D4-83D7-83E48E946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7F0A67-BB3A-433B-B6D3-06EE0CD5E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3D29B1E-4BD2-4E78-91D7-0D0DE0F6349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05500" y="1485900"/>
            <a:ext cx="5904824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421ABB6D-AE43-4CEA-B0D2-6A4E16F8D5C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9260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ThankYou-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B8F16C-570A-470A-AC41-3DFDC1411C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48425" y="0"/>
            <a:ext cx="5753100" cy="5753100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5742127 w 5753100"/>
              <a:gd name="connsiteY3" fmla="*/ 5753100 h 5753100"/>
              <a:gd name="connsiteX4" fmla="*/ 4388 w 5753100"/>
              <a:gd name="connsiteY4" fmla="*/ 297076 h 5753100"/>
              <a:gd name="connsiteX5" fmla="*/ 0 w 5753100"/>
              <a:gd name="connsiteY5" fmla="*/ 123264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5742127" y="5753100"/>
                </a:lnTo>
                <a:cubicBezTo>
                  <a:pt x="2667478" y="5753100"/>
                  <a:pt x="158214" y="3337026"/>
                  <a:pt x="4388" y="297076"/>
                </a:cubicBezTo>
                <a:lnTo>
                  <a:pt x="0" y="123264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061737" cy="2438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contact or  sign off inform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2FDD5DE-5E3D-4194-BE87-0150D3DD6F3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632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ThankYou-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2D38E8E-19F8-46C4-BBB3-D11FF77116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57623" y="0"/>
            <a:ext cx="5134377" cy="5134377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0 w 5753100"/>
              <a:gd name="connsiteY3" fmla="*/ 5753100 h 5753100"/>
              <a:gd name="connsiteX4" fmla="*/ 0 w 5753100"/>
              <a:gd name="connsiteY4" fmla="*/ 3836825 h 5753100"/>
              <a:gd name="connsiteX5" fmla="*/ 1915378 w 5753100"/>
              <a:gd name="connsiteY5" fmla="*/ 3836825 h 5753100"/>
              <a:gd name="connsiteX6" fmla="*/ 1915378 w 5753100"/>
              <a:gd name="connsiteY6" fmla="*/ 1919151 h 5753100"/>
              <a:gd name="connsiteX7" fmla="*/ 0 w 5753100"/>
              <a:gd name="connsiteY7" fmla="*/ 1919151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0" y="5753100"/>
                </a:lnTo>
                <a:lnTo>
                  <a:pt x="0" y="3836825"/>
                </a:lnTo>
                <a:lnTo>
                  <a:pt x="1915378" y="3836825"/>
                </a:lnTo>
                <a:lnTo>
                  <a:pt x="1915378" y="1919151"/>
                </a:lnTo>
                <a:lnTo>
                  <a:pt x="0" y="1919151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061737" cy="2438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contact or  sign off inform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50BD4645-AA0D-4CDC-9654-51835491719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077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_ThankYou-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061737" cy="2438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contact or  sign off information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14E817B0-45E4-4CEA-8DFB-DBD5D757A2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36000" y="0"/>
            <a:ext cx="5256000" cy="5256000"/>
          </a:xfrm>
          <a:custGeom>
            <a:avLst/>
            <a:gdLst>
              <a:gd name="connsiteX0" fmla="*/ 0 w 5256000"/>
              <a:gd name="connsiteY0" fmla="*/ 0 h 5256000"/>
              <a:gd name="connsiteX1" fmla="*/ 4380230 w 5256000"/>
              <a:gd name="connsiteY1" fmla="*/ 0 h 5256000"/>
              <a:gd name="connsiteX2" fmla="*/ 5256000 w 5256000"/>
              <a:gd name="connsiteY2" fmla="*/ 876229 h 5256000"/>
              <a:gd name="connsiteX3" fmla="*/ 4380230 w 5256000"/>
              <a:gd name="connsiteY3" fmla="*/ 876229 h 5256000"/>
              <a:gd name="connsiteX4" fmla="*/ 5256000 w 5256000"/>
              <a:gd name="connsiteY4" fmla="*/ 1752459 h 5256000"/>
              <a:gd name="connsiteX5" fmla="*/ 4380230 w 5256000"/>
              <a:gd name="connsiteY5" fmla="*/ 1752459 h 5256000"/>
              <a:gd name="connsiteX6" fmla="*/ 5256000 w 5256000"/>
              <a:gd name="connsiteY6" fmla="*/ 2628688 h 5256000"/>
              <a:gd name="connsiteX7" fmla="*/ 4380230 w 5256000"/>
              <a:gd name="connsiteY7" fmla="*/ 2628688 h 5256000"/>
              <a:gd name="connsiteX8" fmla="*/ 5256000 w 5256000"/>
              <a:gd name="connsiteY8" fmla="*/ 3503542 h 5256000"/>
              <a:gd name="connsiteX9" fmla="*/ 4380230 w 5256000"/>
              <a:gd name="connsiteY9" fmla="*/ 3503542 h 5256000"/>
              <a:gd name="connsiteX10" fmla="*/ 5256000 w 5256000"/>
              <a:gd name="connsiteY10" fmla="*/ 4379771 h 5256000"/>
              <a:gd name="connsiteX11" fmla="*/ 4380230 w 5256000"/>
              <a:gd name="connsiteY11" fmla="*/ 4379771 h 5256000"/>
              <a:gd name="connsiteX12" fmla="*/ 5256000 w 5256000"/>
              <a:gd name="connsiteY12" fmla="*/ 5256000 h 5256000"/>
              <a:gd name="connsiteX13" fmla="*/ 0 w 5256000"/>
              <a:gd name="connsiteY13" fmla="*/ 5256000 h 525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256000" h="5256000">
                <a:moveTo>
                  <a:pt x="0" y="0"/>
                </a:moveTo>
                <a:lnTo>
                  <a:pt x="4380230" y="0"/>
                </a:lnTo>
                <a:lnTo>
                  <a:pt x="5256000" y="876229"/>
                </a:lnTo>
                <a:lnTo>
                  <a:pt x="4380230" y="876229"/>
                </a:lnTo>
                <a:lnTo>
                  <a:pt x="5256000" y="1752459"/>
                </a:lnTo>
                <a:lnTo>
                  <a:pt x="4380230" y="1752459"/>
                </a:lnTo>
                <a:lnTo>
                  <a:pt x="5256000" y="2628688"/>
                </a:lnTo>
                <a:lnTo>
                  <a:pt x="4380230" y="2628688"/>
                </a:lnTo>
                <a:lnTo>
                  <a:pt x="5256000" y="3503542"/>
                </a:lnTo>
                <a:lnTo>
                  <a:pt x="4380230" y="3503542"/>
                </a:lnTo>
                <a:lnTo>
                  <a:pt x="5256000" y="4379771"/>
                </a:lnTo>
                <a:lnTo>
                  <a:pt x="4380230" y="4379771"/>
                </a:lnTo>
                <a:lnTo>
                  <a:pt x="5256000" y="5256000"/>
                </a:lnTo>
                <a:lnTo>
                  <a:pt x="0" y="5256000"/>
                </a:lnTo>
                <a:close/>
              </a:path>
            </a:pathLst>
          </a:custGeom>
          <a:solidFill>
            <a:schemeClr val="tx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E64D7967-5405-4577-84D4-B9915767F02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199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Y_Title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40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40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EE11BD8-6580-41DD-940E-B1D1B8B2E21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97A30E8-35A3-4CE7-93BA-293D648C86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9738BE3-1506-4C98-A8EE-0BB4912D32C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646181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REY_TextSlide_1-colum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821CC-265E-473E-BD96-BC93B6A49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D518933-C06B-479E-8487-1189C2548F6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8420162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GREY_TextSlide_2-colum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71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5B7B4106-2F1F-45B9-9A64-FAC3DF7E09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237929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GREY_TextSlide_Comparison-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30000" cy="61264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1214A8-797C-4060-87C6-8AD2576B2F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485900"/>
            <a:ext cx="5524500" cy="612648"/>
          </a:xfrm>
        </p:spPr>
        <p:txBody>
          <a:bodyPr anchor="t" anchorCtr="0"/>
          <a:lstStyle>
            <a:lvl1pPr marL="0" indent="0">
              <a:buNone/>
              <a:defRPr sz="2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2098548"/>
            <a:ext cx="5524500" cy="365455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8E02DB-026F-4957-99F9-809354C0EE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1485900"/>
            <a:ext cx="5524500" cy="612648"/>
          </a:xfrm>
        </p:spPr>
        <p:txBody>
          <a:bodyPr anchor="t" anchorCtr="0"/>
          <a:lstStyle>
            <a:lvl1pPr marL="0" indent="0">
              <a:buNone/>
              <a:defRPr sz="2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556944C-3AA2-4F0B-A504-74A0CCAAEF6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86500" y="2098548"/>
            <a:ext cx="5524500" cy="365455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0E2943B-F3BB-4745-8729-DFACD7E9435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857080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WHITE_Text+Photo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3089B0-E846-4F6F-8048-C75C9E3B6D5C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837" y="-4558"/>
            <a:ext cx="6286163" cy="686255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755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263EF67-71D6-425F-9F93-AD2BCA30BD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558F451E-44E2-43D8-A1EB-A7BEE9B0210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55908" y="5753100"/>
            <a:ext cx="954416" cy="642425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92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1491A38-D76D-46A2-B940-1B7FF5CCBA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79197" y="2435763"/>
            <a:ext cx="5110700" cy="3857976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4pPr>
            <a:lvl5pPr>
              <a:lnSpc>
                <a:spcPct val="125000"/>
              </a:lnSpc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B0CC948-B2B6-495E-8F38-289BD6311E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8522" y="674613"/>
            <a:ext cx="5144347" cy="1397718"/>
          </a:xfrm>
        </p:spPr>
        <p:txBody>
          <a:bodyPr/>
          <a:lstStyle>
            <a:lvl1pPr>
              <a:defRPr sz="512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he main message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2996706872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_Text+Photo-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263EF67-71D6-425F-9F93-AD2BCA30BD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4736592" cy="61264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1901952"/>
            <a:ext cx="4736592" cy="385340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9247D218-D62C-4742-ACE7-429AA3B6153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9192422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_Text+Photo-Le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263EF67-71D6-425F-9F93-AD2BCA30BD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0" y="365125"/>
            <a:ext cx="5524500" cy="61264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6500" y="1899696"/>
            <a:ext cx="5524500" cy="385340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9718B2F2-5726-48B1-8DC8-614E01AE8BC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7087490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GREY_TextSlide_3-colum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5" y="1485900"/>
            <a:ext cx="3383280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04022" y="1485900"/>
            <a:ext cx="3383280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C9A967D-8A0B-4436-A012-333049F84F2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427720" y="1485900"/>
            <a:ext cx="3383280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3E986B7D-6841-4184-9EDF-E789B044A56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8296489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_TextSlide_Photo+1-colum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5524500" cy="60939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7026"/>
            <a:ext cx="5523824" cy="385607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2BD715A7-CDAB-4300-87D7-26DDB8999B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1"/>
            <a:ext cx="6096001" cy="6111545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D2A12F29-966B-41CC-8056-66C3A0CE56A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8043456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_TextSlide_BigNumb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485900"/>
            <a:ext cx="5524500" cy="1943100"/>
          </a:xfrm>
        </p:spPr>
        <p:txBody>
          <a:bodyPr/>
          <a:lstStyle>
            <a:lvl1pPr>
              <a:defRPr sz="16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XX%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676" y="3568439"/>
            <a:ext cx="5523824" cy="218466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2BD715A7-CDAB-4300-87D7-26DDB8999B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1"/>
            <a:ext cx="6096001" cy="6111545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6FBDC1F-BBEC-45A3-B377-2DA8754728D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9277174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_Photo+BigQuote-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869E21B-A703-4EDF-B4FA-B5E512E463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9B35DB1-D7AC-4FA8-B932-26B3A103D00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81000" y="3799539"/>
            <a:ext cx="11430000" cy="1768289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540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big quote styl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7426538-B659-460A-A700-D799FA6E6BA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0295603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_Photo+BigQuote-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5372100"/>
          </a:xfrm>
        </p:spPr>
        <p:txBody>
          <a:bodyPr anchor="t" anchorCtr="0"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6375DDD-61B4-4459-A66A-CEC3372C4C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747959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_Photo+BigQuote-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0" y="381000"/>
            <a:ext cx="5524500" cy="5372100"/>
          </a:xfrm>
        </p:spPr>
        <p:txBody>
          <a:bodyPr anchor="t" anchorCtr="0"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994CCE3D-0857-40B5-B26B-615050BD500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4439929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Y_Photo+BigQuote-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33D383-98C3-40EB-8FCB-C0B373AAFF8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65125"/>
            <a:ext cx="11429324" cy="609398"/>
          </a:xfrm>
        </p:spPr>
        <p:txBody>
          <a:bodyPr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A530C12F-5F3E-460C-8164-7A1A8B1114B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040629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GREY_Title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E037E20-29EF-410F-AA70-D50FAE88B30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53970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WHITE_TextSlide_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821CC-265E-473E-BD96-BC93B6A49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98937FE-5C9B-40C9-8C55-48EB04CA346C}" type="datetime3">
              <a:rPr lang="en-US" smtClean="0"/>
              <a:pPr/>
              <a:t>30 November 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D518933-C06B-479E-8487-1189C2548F6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0004702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HITE_Text+Photo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263EF67-71D6-425F-9F93-AD2BCA30BD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669E4F-79DE-4594-B939-024364C633DE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0" y="-4558"/>
            <a:ext cx="5905164" cy="6862558"/>
          </a:xfrm>
          <a:prstGeom prst="rect">
            <a:avLst/>
          </a:prstGeom>
          <a:solidFill>
            <a:srgbClr val="FAC832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755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DE20311-28B4-4D1E-838D-4E73FE5A9F4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55908" y="5753100"/>
            <a:ext cx="954416" cy="642425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92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EE9439C9-7BB7-44F8-94B7-76F0DD0A02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676" y="2545466"/>
            <a:ext cx="5110700" cy="3857976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rgbClr val="000000"/>
                </a:solidFill>
                <a:latin typeface="+mj-lt"/>
              </a:defRPr>
            </a:lvl1pPr>
            <a:lvl2pPr>
              <a:lnSpc>
                <a:spcPct val="125000"/>
              </a:lnSpc>
              <a:defRPr>
                <a:solidFill>
                  <a:srgbClr val="000000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solidFill>
                  <a:srgbClr val="000000"/>
                </a:solidFill>
                <a:latin typeface="+mj-lt"/>
              </a:defRPr>
            </a:lvl3pPr>
            <a:lvl4pPr>
              <a:lnSpc>
                <a:spcPct val="125000"/>
              </a:lnSpc>
              <a:defRPr>
                <a:solidFill>
                  <a:srgbClr val="000000"/>
                </a:solidFill>
                <a:latin typeface="+mj-lt"/>
              </a:defRPr>
            </a:lvl4pPr>
            <a:lvl5pPr>
              <a:lnSpc>
                <a:spcPct val="125000"/>
              </a:lnSpc>
              <a:defRPr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4786BD3-64AA-42AE-A6EB-747F1F3416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1001" y="784316"/>
            <a:ext cx="5144347" cy="1397718"/>
          </a:xfrm>
        </p:spPr>
        <p:txBody>
          <a:bodyPr/>
          <a:lstStyle>
            <a:lvl1pPr>
              <a:defRPr sz="512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he main message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905893937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_Photo+BigQuote+Text-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2370015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6375DDD-61B4-4459-A66A-CEC3372C4C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CB5CFF4-A7D5-477F-B201-BBCD0B64C3A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3149600"/>
            <a:ext cx="4735916" cy="260349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>
                <a:solidFill>
                  <a:schemeClr val="accent1"/>
                </a:solidFill>
              </a:defRPr>
            </a:lvl5pPr>
            <a:lvl6pPr>
              <a:defRPr sz="2000">
                <a:solidFill>
                  <a:schemeClr val="accent1"/>
                </a:solidFill>
              </a:defRPr>
            </a:lvl6pPr>
            <a:lvl7pPr>
              <a:defRPr sz="2000">
                <a:solidFill>
                  <a:schemeClr val="accent1"/>
                </a:solidFill>
              </a:defRPr>
            </a:lvl7pPr>
            <a:lvl8pPr>
              <a:defRPr sz="2000">
                <a:solidFill>
                  <a:schemeClr val="accent1"/>
                </a:solidFill>
              </a:defRPr>
            </a:lvl8pPr>
            <a:lvl9pPr>
              <a:defRPr sz="2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1900369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_Photo+BigQuote+Text-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0" y="381000"/>
            <a:ext cx="5524500" cy="2368296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EF8E3E7-B486-4E16-8D8D-24A8994ECCD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86500" y="3149600"/>
            <a:ext cx="5524500" cy="260349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>
                <a:solidFill>
                  <a:schemeClr val="accent1"/>
                </a:solidFill>
              </a:defRPr>
            </a:lvl5pPr>
            <a:lvl6pPr>
              <a:defRPr sz="2000">
                <a:solidFill>
                  <a:schemeClr val="accent1"/>
                </a:solidFill>
              </a:defRPr>
            </a:lvl6pPr>
            <a:lvl7pPr>
              <a:defRPr sz="2000">
                <a:solidFill>
                  <a:schemeClr val="accent1"/>
                </a:solidFill>
              </a:defRPr>
            </a:lvl7pPr>
            <a:lvl8pPr>
              <a:defRPr sz="2000">
                <a:solidFill>
                  <a:schemeClr val="accent1"/>
                </a:solidFill>
              </a:defRPr>
            </a:lvl8pPr>
            <a:lvl9pPr>
              <a:defRPr sz="2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6DFE19B-B702-4D5E-BF8B-BCD8FCF4F7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9860950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GREY_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EE6DE-DB4F-403B-BA90-BC5667D01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1A86010D-9F01-497B-8478-6CF04E7FA29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C8B291B-C350-40DC-9A39-2787F8C59105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4B859E5-57E2-4748-9A66-3A5F504AB7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855899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_BigQuo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B767A-0100-4E11-94C6-E29DB60EA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49A295-A729-4A3F-A328-98B789BCC4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B1B8D0-0A04-44D4-83D7-83E48E946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7F0A67-BB3A-433B-B6D3-06EE0CD5E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01B54392-5290-4FF8-96DF-1F298545288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7922040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_BigQuote+Text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B767A-0100-4E11-94C6-E29DB60EA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3260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5CCB49-02C2-43A0-A23F-412EC6F653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905453" y="381000"/>
            <a:ext cx="5905547" cy="612648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49A295-A729-4A3F-A328-98B789BCC4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B1B8D0-0A04-44D4-83D7-83E48E946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7F0A67-BB3A-433B-B6D3-06EE0CD5E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3D29B1E-4BD2-4E78-91D7-0D0DE0F6349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05500" y="1485900"/>
            <a:ext cx="5904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F7DBB32-5E98-4234-B4C8-ABF8C73CA5B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7273728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_ThankYou-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B8F16C-570A-470A-AC41-3DFDC1411C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48425" y="0"/>
            <a:ext cx="5753100" cy="5753100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5742127 w 5753100"/>
              <a:gd name="connsiteY3" fmla="*/ 5753100 h 5753100"/>
              <a:gd name="connsiteX4" fmla="*/ 4388 w 5753100"/>
              <a:gd name="connsiteY4" fmla="*/ 297076 h 5753100"/>
              <a:gd name="connsiteX5" fmla="*/ 0 w 5753100"/>
              <a:gd name="connsiteY5" fmla="*/ 123264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5742127" y="5753100"/>
                </a:lnTo>
                <a:cubicBezTo>
                  <a:pt x="2667478" y="5753100"/>
                  <a:pt x="158214" y="3337026"/>
                  <a:pt x="4388" y="297076"/>
                </a:cubicBezTo>
                <a:lnTo>
                  <a:pt x="0" y="123264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736592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sign off inform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0F5EA913-91DE-4286-B6E6-13E414E8221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9594040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_ThankYou-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2D38E8E-19F8-46C4-BBB3-D11FF77116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57623" y="0"/>
            <a:ext cx="5134377" cy="5134377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0 w 5753100"/>
              <a:gd name="connsiteY3" fmla="*/ 5753100 h 5753100"/>
              <a:gd name="connsiteX4" fmla="*/ 0 w 5753100"/>
              <a:gd name="connsiteY4" fmla="*/ 3836825 h 5753100"/>
              <a:gd name="connsiteX5" fmla="*/ 1915378 w 5753100"/>
              <a:gd name="connsiteY5" fmla="*/ 3836825 h 5753100"/>
              <a:gd name="connsiteX6" fmla="*/ 1915378 w 5753100"/>
              <a:gd name="connsiteY6" fmla="*/ 1919151 h 5753100"/>
              <a:gd name="connsiteX7" fmla="*/ 0 w 5753100"/>
              <a:gd name="connsiteY7" fmla="*/ 1919151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0" y="5753100"/>
                </a:lnTo>
                <a:lnTo>
                  <a:pt x="0" y="3836825"/>
                </a:lnTo>
                <a:lnTo>
                  <a:pt x="1915378" y="3836825"/>
                </a:lnTo>
                <a:lnTo>
                  <a:pt x="1915378" y="1919151"/>
                </a:lnTo>
                <a:lnTo>
                  <a:pt x="0" y="1919151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736592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sign off inform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AD4A7B18-21C4-40A0-91F0-221DC1CC68B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4333505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_ThankYou-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736592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sign off information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14E817B0-45E4-4CEA-8DFB-DBD5D757A2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36000" y="0"/>
            <a:ext cx="5256000" cy="5256000"/>
          </a:xfrm>
          <a:custGeom>
            <a:avLst/>
            <a:gdLst>
              <a:gd name="connsiteX0" fmla="*/ 0 w 5256000"/>
              <a:gd name="connsiteY0" fmla="*/ 0 h 5256000"/>
              <a:gd name="connsiteX1" fmla="*/ 4380230 w 5256000"/>
              <a:gd name="connsiteY1" fmla="*/ 0 h 5256000"/>
              <a:gd name="connsiteX2" fmla="*/ 5256000 w 5256000"/>
              <a:gd name="connsiteY2" fmla="*/ 876229 h 5256000"/>
              <a:gd name="connsiteX3" fmla="*/ 4380230 w 5256000"/>
              <a:gd name="connsiteY3" fmla="*/ 876229 h 5256000"/>
              <a:gd name="connsiteX4" fmla="*/ 5256000 w 5256000"/>
              <a:gd name="connsiteY4" fmla="*/ 1752459 h 5256000"/>
              <a:gd name="connsiteX5" fmla="*/ 4380230 w 5256000"/>
              <a:gd name="connsiteY5" fmla="*/ 1752459 h 5256000"/>
              <a:gd name="connsiteX6" fmla="*/ 5256000 w 5256000"/>
              <a:gd name="connsiteY6" fmla="*/ 2628688 h 5256000"/>
              <a:gd name="connsiteX7" fmla="*/ 4380230 w 5256000"/>
              <a:gd name="connsiteY7" fmla="*/ 2628688 h 5256000"/>
              <a:gd name="connsiteX8" fmla="*/ 5256000 w 5256000"/>
              <a:gd name="connsiteY8" fmla="*/ 3503542 h 5256000"/>
              <a:gd name="connsiteX9" fmla="*/ 4380230 w 5256000"/>
              <a:gd name="connsiteY9" fmla="*/ 3503542 h 5256000"/>
              <a:gd name="connsiteX10" fmla="*/ 5256000 w 5256000"/>
              <a:gd name="connsiteY10" fmla="*/ 4379771 h 5256000"/>
              <a:gd name="connsiteX11" fmla="*/ 4380230 w 5256000"/>
              <a:gd name="connsiteY11" fmla="*/ 4379771 h 5256000"/>
              <a:gd name="connsiteX12" fmla="*/ 5256000 w 5256000"/>
              <a:gd name="connsiteY12" fmla="*/ 5256000 h 5256000"/>
              <a:gd name="connsiteX13" fmla="*/ 0 w 5256000"/>
              <a:gd name="connsiteY13" fmla="*/ 5256000 h 525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256000" h="5256000">
                <a:moveTo>
                  <a:pt x="0" y="0"/>
                </a:moveTo>
                <a:lnTo>
                  <a:pt x="4380230" y="0"/>
                </a:lnTo>
                <a:lnTo>
                  <a:pt x="5256000" y="876229"/>
                </a:lnTo>
                <a:lnTo>
                  <a:pt x="4380230" y="876229"/>
                </a:lnTo>
                <a:lnTo>
                  <a:pt x="5256000" y="1752459"/>
                </a:lnTo>
                <a:lnTo>
                  <a:pt x="4380230" y="1752459"/>
                </a:lnTo>
                <a:lnTo>
                  <a:pt x="5256000" y="2628688"/>
                </a:lnTo>
                <a:lnTo>
                  <a:pt x="4380230" y="2628688"/>
                </a:lnTo>
                <a:lnTo>
                  <a:pt x="5256000" y="3503542"/>
                </a:lnTo>
                <a:lnTo>
                  <a:pt x="4380230" y="3503542"/>
                </a:lnTo>
                <a:lnTo>
                  <a:pt x="5256000" y="4379771"/>
                </a:lnTo>
                <a:lnTo>
                  <a:pt x="4380230" y="4379771"/>
                </a:lnTo>
                <a:lnTo>
                  <a:pt x="5256000" y="5256000"/>
                </a:lnTo>
                <a:lnTo>
                  <a:pt x="0" y="5256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12A9C5F-0071-4A15-8142-51137938E39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1771130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GREY_Title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04740AA-067B-448B-85BC-B34E6A67E5BC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5260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5260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EE11BD8-6580-41DD-940E-B1D1B8B2E21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97A30E8-35A3-4CE7-93BA-293D648C86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9738BE3-1506-4C98-A8EE-0BB4912D32C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652748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BLACK_Title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2B5F127-4E3B-48EA-B6F5-E3D5675A9CD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5260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5260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8877799-5BE2-4BEB-8D62-4346F454842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8EFA57A-9CCD-40CD-B5B2-8CEC13FFBF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7A8C5AF-CF06-4298-8D3D-4664B9CBEB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41616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HITE_Text+Photo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D3089B0-E846-4F6F-8048-C75C9E3B6D5C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837" y="-4558"/>
            <a:ext cx="6286163" cy="6862558"/>
          </a:xfrm>
          <a:prstGeom prst="rect">
            <a:avLst/>
          </a:prstGeom>
          <a:solidFill>
            <a:srgbClr val="FAC832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755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263EF67-71D6-425F-9F93-AD2BCA30BD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558F451E-44E2-43D8-A1EB-A7BEE9B0210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55908" y="5753100"/>
            <a:ext cx="954416" cy="642425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92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1491A38-D76D-46A2-B940-1B7FF5CCBA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79197" y="2435763"/>
            <a:ext cx="5110700" cy="3857976"/>
          </a:xfrm>
        </p:spPr>
        <p:txBody>
          <a:bodyPr/>
          <a:lstStyle>
            <a:lvl1pPr>
              <a:lnSpc>
                <a:spcPct val="125000"/>
              </a:lnSpc>
              <a:defRPr>
                <a:solidFill>
                  <a:srgbClr val="000000"/>
                </a:solidFill>
                <a:latin typeface="+mj-lt"/>
              </a:defRPr>
            </a:lvl1pPr>
            <a:lvl2pPr>
              <a:lnSpc>
                <a:spcPct val="125000"/>
              </a:lnSpc>
              <a:defRPr>
                <a:solidFill>
                  <a:srgbClr val="000000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solidFill>
                  <a:srgbClr val="000000"/>
                </a:solidFill>
                <a:latin typeface="+mj-lt"/>
              </a:defRPr>
            </a:lvl3pPr>
            <a:lvl4pPr>
              <a:lnSpc>
                <a:spcPct val="125000"/>
              </a:lnSpc>
              <a:defRPr>
                <a:solidFill>
                  <a:srgbClr val="000000"/>
                </a:solidFill>
                <a:latin typeface="+mj-lt"/>
              </a:defRPr>
            </a:lvl4pPr>
            <a:lvl5pPr>
              <a:lnSpc>
                <a:spcPct val="125000"/>
              </a:lnSpc>
              <a:defRPr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B0CC948-B2B6-495E-8F38-289BD6311E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8522" y="674613"/>
            <a:ext cx="5144347" cy="1397718"/>
          </a:xfrm>
        </p:spPr>
        <p:txBody>
          <a:bodyPr/>
          <a:lstStyle>
            <a:lvl1pPr>
              <a:defRPr sz="512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the main message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699661509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YELLOW_Title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2B5F127-4E3B-48EA-B6F5-E3D5675A9CD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5260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5260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8877799-5BE2-4BEB-8D62-4346F454842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8EFA57A-9CCD-40CD-B5B2-8CEC13FFBF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7A8C5AF-CF06-4298-8D3D-4664B9CBEB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353096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BLUE_Title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2B5F127-4E3B-48EA-B6F5-E3D5675A9CD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5260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5260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8877799-5BE2-4BEB-8D62-4346F454842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8EFA57A-9CCD-40CD-B5B2-8CEC13FFBF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7A8C5AF-CF06-4298-8D3D-4664B9CBEB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555494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RED_Title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2B5F127-4E3B-48EA-B6F5-E3D5675A9CD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5245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5245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8877799-5BE2-4BEB-8D62-4346F454842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8EFA57A-9CCD-40CD-B5B2-8CEC13FFBF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7A8C5AF-CF06-4298-8D3D-4664B9CBEB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745413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-PHOTO-1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56FD734C-437D-47E1-A106-06F8EB8C04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21950" y="0"/>
            <a:ext cx="7271425" cy="6858000"/>
          </a:xfrm>
          <a:custGeom>
            <a:avLst/>
            <a:gdLst>
              <a:gd name="connsiteX0" fmla="*/ 0 w 7632000"/>
              <a:gd name="connsiteY0" fmla="*/ 0 h 6858000"/>
              <a:gd name="connsiteX1" fmla="*/ 7632000 w 7632000"/>
              <a:gd name="connsiteY1" fmla="*/ 0 h 6858000"/>
              <a:gd name="connsiteX2" fmla="*/ 7632000 w 7632000"/>
              <a:gd name="connsiteY2" fmla="*/ 6858000 h 6858000"/>
              <a:gd name="connsiteX3" fmla="*/ 2291650 w 7632000"/>
              <a:gd name="connsiteY3" fmla="*/ 6858000 h 6858000"/>
              <a:gd name="connsiteX4" fmla="*/ 2291650 w 7632000"/>
              <a:gd name="connsiteY4" fmla="*/ 6444218 h 6858000"/>
              <a:gd name="connsiteX5" fmla="*/ 2291650 w 7632000"/>
              <a:gd name="connsiteY5" fmla="*/ 2287588 h 6858000"/>
              <a:gd name="connsiteX6" fmla="*/ 7767 w 7632000"/>
              <a:gd name="connsiteY6" fmla="*/ 1588 h 6858000"/>
              <a:gd name="connsiteX7" fmla="*/ 0 w 7632000"/>
              <a:gd name="connsiteY7" fmla="*/ 1588 h 6858000"/>
              <a:gd name="connsiteX0" fmla="*/ 0 w 7632000"/>
              <a:gd name="connsiteY0" fmla="*/ 0 h 6858000"/>
              <a:gd name="connsiteX1" fmla="*/ 7632000 w 7632000"/>
              <a:gd name="connsiteY1" fmla="*/ 0 h 6858000"/>
              <a:gd name="connsiteX2" fmla="*/ 7241475 w 7632000"/>
              <a:gd name="connsiteY2" fmla="*/ 6853238 h 6858000"/>
              <a:gd name="connsiteX3" fmla="*/ 2291650 w 7632000"/>
              <a:gd name="connsiteY3" fmla="*/ 6858000 h 6858000"/>
              <a:gd name="connsiteX4" fmla="*/ 2291650 w 7632000"/>
              <a:gd name="connsiteY4" fmla="*/ 6444218 h 6858000"/>
              <a:gd name="connsiteX5" fmla="*/ 2291650 w 7632000"/>
              <a:gd name="connsiteY5" fmla="*/ 2287588 h 6858000"/>
              <a:gd name="connsiteX6" fmla="*/ 7767 w 7632000"/>
              <a:gd name="connsiteY6" fmla="*/ 1588 h 6858000"/>
              <a:gd name="connsiteX7" fmla="*/ 0 w 7632000"/>
              <a:gd name="connsiteY7" fmla="*/ 1588 h 6858000"/>
              <a:gd name="connsiteX8" fmla="*/ 0 w 7632000"/>
              <a:gd name="connsiteY8" fmla="*/ 0 h 6858000"/>
              <a:gd name="connsiteX0" fmla="*/ 0 w 7270050"/>
              <a:gd name="connsiteY0" fmla="*/ 0 h 6858000"/>
              <a:gd name="connsiteX1" fmla="*/ 7270050 w 7270050"/>
              <a:gd name="connsiteY1" fmla="*/ 0 h 6858000"/>
              <a:gd name="connsiteX2" fmla="*/ 7241475 w 7270050"/>
              <a:gd name="connsiteY2" fmla="*/ 6853238 h 6858000"/>
              <a:gd name="connsiteX3" fmla="*/ 2291650 w 7270050"/>
              <a:gd name="connsiteY3" fmla="*/ 6858000 h 6858000"/>
              <a:gd name="connsiteX4" fmla="*/ 2291650 w 7270050"/>
              <a:gd name="connsiteY4" fmla="*/ 6444218 h 6858000"/>
              <a:gd name="connsiteX5" fmla="*/ 2291650 w 7270050"/>
              <a:gd name="connsiteY5" fmla="*/ 2287588 h 6858000"/>
              <a:gd name="connsiteX6" fmla="*/ 7767 w 7270050"/>
              <a:gd name="connsiteY6" fmla="*/ 1588 h 6858000"/>
              <a:gd name="connsiteX7" fmla="*/ 0 w 7270050"/>
              <a:gd name="connsiteY7" fmla="*/ 1588 h 6858000"/>
              <a:gd name="connsiteX8" fmla="*/ 0 w 7270050"/>
              <a:gd name="connsiteY8" fmla="*/ 0 h 6858000"/>
              <a:gd name="connsiteX0" fmla="*/ 0 w 7270050"/>
              <a:gd name="connsiteY0" fmla="*/ 0 h 6858001"/>
              <a:gd name="connsiteX1" fmla="*/ 7270050 w 7270050"/>
              <a:gd name="connsiteY1" fmla="*/ 0 h 6858001"/>
              <a:gd name="connsiteX2" fmla="*/ 7255763 w 7270050"/>
              <a:gd name="connsiteY2" fmla="*/ 6858001 h 6858001"/>
              <a:gd name="connsiteX3" fmla="*/ 2291650 w 7270050"/>
              <a:gd name="connsiteY3" fmla="*/ 6858000 h 6858001"/>
              <a:gd name="connsiteX4" fmla="*/ 2291650 w 7270050"/>
              <a:gd name="connsiteY4" fmla="*/ 6444218 h 6858001"/>
              <a:gd name="connsiteX5" fmla="*/ 2291650 w 7270050"/>
              <a:gd name="connsiteY5" fmla="*/ 2287588 h 6858001"/>
              <a:gd name="connsiteX6" fmla="*/ 7767 w 7270050"/>
              <a:gd name="connsiteY6" fmla="*/ 1588 h 6858001"/>
              <a:gd name="connsiteX7" fmla="*/ 0 w 7270050"/>
              <a:gd name="connsiteY7" fmla="*/ 1588 h 6858001"/>
              <a:gd name="connsiteX8" fmla="*/ 0 w 7270050"/>
              <a:gd name="connsiteY8" fmla="*/ 0 h 6858001"/>
              <a:gd name="connsiteX0" fmla="*/ 0 w 7270050"/>
              <a:gd name="connsiteY0" fmla="*/ 0 h 6858001"/>
              <a:gd name="connsiteX1" fmla="*/ 7270050 w 7270050"/>
              <a:gd name="connsiteY1" fmla="*/ 0 h 6858001"/>
              <a:gd name="connsiteX2" fmla="*/ 6931913 w 7270050"/>
              <a:gd name="connsiteY2" fmla="*/ 6858001 h 6858001"/>
              <a:gd name="connsiteX3" fmla="*/ 2291650 w 7270050"/>
              <a:gd name="connsiteY3" fmla="*/ 6858000 h 6858001"/>
              <a:gd name="connsiteX4" fmla="*/ 2291650 w 7270050"/>
              <a:gd name="connsiteY4" fmla="*/ 6444218 h 6858001"/>
              <a:gd name="connsiteX5" fmla="*/ 2291650 w 7270050"/>
              <a:gd name="connsiteY5" fmla="*/ 2287588 h 6858001"/>
              <a:gd name="connsiteX6" fmla="*/ 7767 w 7270050"/>
              <a:gd name="connsiteY6" fmla="*/ 1588 h 6858001"/>
              <a:gd name="connsiteX7" fmla="*/ 0 w 7270050"/>
              <a:gd name="connsiteY7" fmla="*/ 1588 h 6858001"/>
              <a:gd name="connsiteX8" fmla="*/ 0 w 7270050"/>
              <a:gd name="connsiteY8" fmla="*/ 0 h 6858001"/>
              <a:gd name="connsiteX0" fmla="*/ 0 w 7271425"/>
              <a:gd name="connsiteY0" fmla="*/ 0 h 6858000"/>
              <a:gd name="connsiteX1" fmla="*/ 7270050 w 7271425"/>
              <a:gd name="connsiteY1" fmla="*/ 0 h 6858000"/>
              <a:gd name="connsiteX2" fmla="*/ 7270051 w 7271425"/>
              <a:gd name="connsiteY2" fmla="*/ 6848476 h 6858000"/>
              <a:gd name="connsiteX3" fmla="*/ 2291650 w 7271425"/>
              <a:gd name="connsiteY3" fmla="*/ 6858000 h 6858000"/>
              <a:gd name="connsiteX4" fmla="*/ 2291650 w 7271425"/>
              <a:gd name="connsiteY4" fmla="*/ 6444218 h 6858000"/>
              <a:gd name="connsiteX5" fmla="*/ 2291650 w 7271425"/>
              <a:gd name="connsiteY5" fmla="*/ 2287588 h 6858000"/>
              <a:gd name="connsiteX6" fmla="*/ 7767 w 7271425"/>
              <a:gd name="connsiteY6" fmla="*/ 1588 h 6858000"/>
              <a:gd name="connsiteX7" fmla="*/ 0 w 7271425"/>
              <a:gd name="connsiteY7" fmla="*/ 1588 h 6858000"/>
              <a:gd name="connsiteX8" fmla="*/ 0 w 727142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71425" h="6858000">
                <a:moveTo>
                  <a:pt x="0" y="0"/>
                </a:moveTo>
                <a:lnTo>
                  <a:pt x="7270050" y="0"/>
                </a:lnTo>
                <a:cubicBezTo>
                  <a:pt x="7265288" y="2286000"/>
                  <a:pt x="7274813" y="4562476"/>
                  <a:pt x="7270051" y="6848476"/>
                </a:cubicBezTo>
                <a:lnTo>
                  <a:pt x="2291650" y="6858000"/>
                </a:lnTo>
                <a:lnTo>
                  <a:pt x="2291650" y="6444218"/>
                </a:lnTo>
                <a:lnTo>
                  <a:pt x="2291650" y="2287588"/>
                </a:lnTo>
                <a:cubicBezTo>
                  <a:pt x="1030756" y="2287588"/>
                  <a:pt x="7767" y="1263651"/>
                  <a:pt x="7767" y="1588"/>
                </a:cubicBezTo>
                <a:lnTo>
                  <a:pt x="0" y="1588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55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55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7955806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-PHOTO-2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4">
            <a:extLst>
              <a:ext uri="{FF2B5EF4-FFF2-40B4-BE49-F238E27FC236}">
                <a16:creationId xmlns:a16="http://schemas.microsoft.com/office/drawing/2014/main" id="{62722016-390D-4AA3-9267-8DCD89E38F2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06079" y="-2"/>
            <a:ext cx="6507275" cy="6863318"/>
          </a:xfrm>
          <a:custGeom>
            <a:avLst/>
            <a:gdLst>
              <a:gd name="connsiteX0" fmla="*/ 0 w 4597199"/>
              <a:gd name="connsiteY0" fmla="*/ 0 h 4593599"/>
              <a:gd name="connsiteX1" fmla="*/ 4597199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  <a:gd name="connsiteX0" fmla="*/ 0 w 4597199"/>
              <a:gd name="connsiteY0" fmla="*/ 0 h 4593599"/>
              <a:gd name="connsiteX1" fmla="*/ 4340812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  <a:gd name="connsiteX20" fmla="*/ 0 w 4597199"/>
              <a:gd name="connsiteY20" fmla="*/ 0 h 4593599"/>
              <a:gd name="connsiteX0" fmla="*/ 0 w 4344374"/>
              <a:gd name="connsiteY0" fmla="*/ 0 h 4597160"/>
              <a:gd name="connsiteX1" fmla="*/ 4340812 w 4344374"/>
              <a:gd name="connsiteY1" fmla="*/ 0 h 4597160"/>
              <a:gd name="connsiteX2" fmla="*/ 4344374 w 4344374"/>
              <a:gd name="connsiteY2" fmla="*/ 4597160 h 4597160"/>
              <a:gd name="connsiteX3" fmla="*/ 761399 w 4344374"/>
              <a:gd name="connsiteY3" fmla="*/ 4593599 h 4597160"/>
              <a:gd name="connsiteX4" fmla="*/ 0 w 4344374"/>
              <a:gd name="connsiteY4" fmla="*/ 3833781 h 4597160"/>
              <a:gd name="connsiteX5" fmla="*/ 0 w 4344374"/>
              <a:gd name="connsiteY5" fmla="*/ 3828704 h 4597160"/>
              <a:gd name="connsiteX6" fmla="*/ 761400 w 4344374"/>
              <a:gd name="connsiteY6" fmla="*/ 3828704 h 4597160"/>
              <a:gd name="connsiteX7" fmla="*/ 0 w 4344374"/>
              <a:gd name="connsiteY7" fmla="*/ 3068885 h 4597160"/>
              <a:gd name="connsiteX8" fmla="*/ 0 w 4344374"/>
              <a:gd name="connsiteY8" fmla="*/ 3063809 h 4597160"/>
              <a:gd name="connsiteX9" fmla="*/ 761400 w 4344374"/>
              <a:gd name="connsiteY9" fmla="*/ 3063809 h 4597160"/>
              <a:gd name="connsiteX10" fmla="*/ 0 w 4344374"/>
              <a:gd name="connsiteY10" fmla="*/ 2301191 h 4597160"/>
              <a:gd name="connsiteX11" fmla="*/ 0 w 4344374"/>
              <a:gd name="connsiteY11" fmla="*/ 2296096 h 4597160"/>
              <a:gd name="connsiteX12" fmla="*/ 761400 w 4344374"/>
              <a:gd name="connsiteY12" fmla="*/ 2296096 h 4597160"/>
              <a:gd name="connsiteX13" fmla="*/ 0 w 4344374"/>
              <a:gd name="connsiteY13" fmla="*/ 1536277 h 4597160"/>
              <a:gd name="connsiteX14" fmla="*/ 0 w 4344374"/>
              <a:gd name="connsiteY14" fmla="*/ 1531200 h 4597160"/>
              <a:gd name="connsiteX15" fmla="*/ 761400 w 4344374"/>
              <a:gd name="connsiteY15" fmla="*/ 1531200 h 4597160"/>
              <a:gd name="connsiteX16" fmla="*/ 0 w 4344374"/>
              <a:gd name="connsiteY16" fmla="*/ 771381 h 4597160"/>
              <a:gd name="connsiteX17" fmla="*/ 0 w 4344374"/>
              <a:gd name="connsiteY17" fmla="*/ 766304 h 4597160"/>
              <a:gd name="connsiteX18" fmla="*/ 761400 w 4344374"/>
              <a:gd name="connsiteY18" fmla="*/ 766304 h 4597160"/>
              <a:gd name="connsiteX19" fmla="*/ 0 w 4344374"/>
              <a:gd name="connsiteY19" fmla="*/ 5086 h 4597160"/>
              <a:gd name="connsiteX20" fmla="*/ 0 w 4344374"/>
              <a:gd name="connsiteY20" fmla="*/ 0 h 4597160"/>
              <a:gd name="connsiteX0" fmla="*/ 0 w 4344374"/>
              <a:gd name="connsiteY0" fmla="*/ 0 h 4597160"/>
              <a:gd name="connsiteX1" fmla="*/ 4233984 w 4344374"/>
              <a:gd name="connsiteY1" fmla="*/ 0 h 4597160"/>
              <a:gd name="connsiteX2" fmla="*/ 4344374 w 4344374"/>
              <a:gd name="connsiteY2" fmla="*/ 4597160 h 4597160"/>
              <a:gd name="connsiteX3" fmla="*/ 761399 w 4344374"/>
              <a:gd name="connsiteY3" fmla="*/ 4593599 h 4597160"/>
              <a:gd name="connsiteX4" fmla="*/ 0 w 4344374"/>
              <a:gd name="connsiteY4" fmla="*/ 3833781 h 4597160"/>
              <a:gd name="connsiteX5" fmla="*/ 0 w 4344374"/>
              <a:gd name="connsiteY5" fmla="*/ 3828704 h 4597160"/>
              <a:gd name="connsiteX6" fmla="*/ 761400 w 4344374"/>
              <a:gd name="connsiteY6" fmla="*/ 3828704 h 4597160"/>
              <a:gd name="connsiteX7" fmla="*/ 0 w 4344374"/>
              <a:gd name="connsiteY7" fmla="*/ 3068885 h 4597160"/>
              <a:gd name="connsiteX8" fmla="*/ 0 w 4344374"/>
              <a:gd name="connsiteY8" fmla="*/ 3063809 h 4597160"/>
              <a:gd name="connsiteX9" fmla="*/ 761400 w 4344374"/>
              <a:gd name="connsiteY9" fmla="*/ 3063809 h 4597160"/>
              <a:gd name="connsiteX10" fmla="*/ 0 w 4344374"/>
              <a:gd name="connsiteY10" fmla="*/ 2301191 h 4597160"/>
              <a:gd name="connsiteX11" fmla="*/ 0 w 4344374"/>
              <a:gd name="connsiteY11" fmla="*/ 2296096 h 4597160"/>
              <a:gd name="connsiteX12" fmla="*/ 761400 w 4344374"/>
              <a:gd name="connsiteY12" fmla="*/ 2296096 h 4597160"/>
              <a:gd name="connsiteX13" fmla="*/ 0 w 4344374"/>
              <a:gd name="connsiteY13" fmla="*/ 1536277 h 4597160"/>
              <a:gd name="connsiteX14" fmla="*/ 0 w 4344374"/>
              <a:gd name="connsiteY14" fmla="*/ 1531200 h 4597160"/>
              <a:gd name="connsiteX15" fmla="*/ 761400 w 4344374"/>
              <a:gd name="connsiteY15" fmla="*/ 1531200 h 4597160"/>
              <a:gd name="connsiteX16" fmla="*/ 0 w 4344374"/>
              <a:gd name="connsiteY16" fmla="*/ 771381 h 4597160"/>
              <a:gd name="connsiteX17" fmla="*/ 0 w 4344374"/>
              <a:gd name="connsiteY17" fmla="*/ 766304 h 4597160"/>
              <a:gd name="connsiteX18" fmla="*/ 761400 w 4344374"/>
              <a:gd name="connsiteY18" fmla="*/ 766304 h 4597160"/>
              <a:gd name="connsiteX19" fmla="*/ 0 w 4344374"/>
              <a:gd name="connsiteY19" fmla="*/ 5086 h 4597160"/>
              <a:gd name="connsiteX20" fmla="*/ 0 w 4344374"/>
              <a:gd name="connsiteY20" fmla="*/ 0 h 4597160"/>
              <a:gd name="connsiteX0" fmla="*/ 0 w 4358677"/>
              <a:gd name="connsiteY0" fmla="*/ 0 h 4597160"/>
              <a:gd name="connsiteX1" fmla="*/ 4358617 w 4358677"/>
              <a:gd name="connsiteY1" fmla="*/ 0 h 4597160"/>
              <a:gd name="connsiteX2" fmla="*/ 4344374 w 4358677"/>
              <a:gd name="connsiteY2" fmla="*/ 4597160 h 4597160"/>
              <a:gd name="connsiteX3" fmla="*/ 761399 w 4358677"/>
              <a:gd name="connsiteY3" fmla="*/ 4593599 h 4597160"/>
              <a:gd name="connsiteX4" fmla="*/ 0 w 4358677"/>
              <a:gd name="connsiteY4" fmla="*/ 3833781 h 4597160"/>
              <a:gd name="connsiteX5" fmla="*/ 0 w 4358677"/>
              <a:gd name="connsiteY5" fmla="*/ 3828704 h 4597160"/>
              <a:gd name="connsiteX6" fmla="*/ 761400 w 4358677"/>
              <a:gd name="connsiteY6" fmla="*/ 3828704 h 4597160"/>
              <a:gd name="connsiteX7" fmla="*/ 0 w 4358677"/>
              <a:gd name="connsiteY7" fmla="*/ 3068885 h 4597160"/>
              <a:gd name="connsiteX8" fmla="*/ 0 w 4358677"/>
              <a:gd name="connsiteY8" fmla="*/ 3063809 h 4597160"/>
              <a:gd name="connsiteX9" fmla="*/ 761400 w 4358677"/>
              <a:gd name="connsiteY9" fmla="*/ 3063809 h 4597160"/>
              <a:gd name="connsiteX10" fmla="*/ 0 w 4358677"/>
              <a:gd name="connsiteY10" fmla="*/ 2301191 h 4597160"/>
              <a:gd name="connsiteX11" fmla="*/ 0 w 4358677"/>
              <a:gd name="connsiteY11" fmla="*/ 2296096 h 4597160"/>
              <a:gd name="connsiteX12" fmla="*/ 761400 w 4358677"/>
              <a:gd name="connsiteY12" fmla="*/ 2296096 h 4597160"/>
              <a:gd name="connsiteX13" fmla="*/ 0 w 4358677"/>
              <a:gd name="connsiteY13" fmla="*/ 1536277 h 4597160"/>
              <a:gd name="connsiteX14" fmla="*/ 0 w 4358677"/>
              <a:gd name="connsiteY14" fmla="*/ 1531200 h 4597160"/>
              <a:gd name="connsiteX15" fmla="*/ 761400 w 4358677"/>
              <a:gd name="connsiteY15" fmla="*/ 1531200 h 4597160"/>
              <a:gd name="connsiteX16" fmla="*/ 0 w 4358677"/>
              <a:gd name="connsiteY16" fmla="*/ 771381 h 4597160"/>
              <a:gd name="connsiteX17" fmla="*/ 0 w 4358677"/>
              <a:gd name="connsiteY17" fmla="*/ 766304 h 4597160"/>
              <a:gd name="connsiteX18" fmla="*/ 761400 w 4358677"/>
              <a:gd name="connsiteY18" fmla="*/ 766304 h 4597160"/>
              <a:gd name="connsiteX19" fmla="*/ 0 w 4358677"/>
              <a:gd name="connsiteY19" fmla="*/ 5086 h 4597160"/>
              <a:gd name="connsiteX20" fmla="*/ 0 w 4358677"/>
              <a:gd name="connsiteY20" fmla="*/ 0 h 4597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358677" h="4597160">
                <a:moveTo>
                  <a:pt x="0" y="0"/>
                </a:moveTo>
                <a:lnTo>
                  <a:pt x="4358617" y="0"/>
                </a:lnTo>
                <a:cubicBezTo>
                  <a:pt x="4359804" y="1532387"/>
                  <a:pt x="4343187" y="3064773"/>
                  <a:pt x="4344374" y="4597160"/>
                </a:cubicBezTo>
                <a:lnTo>
                  <a:pt x="761399" y="4593599"/>
                </a:lnTo>
                <a:lnTo>
                  <a:pt x="0" y="3833781"/>
                </a:lnTo>
                <a:lnTo>
                  <a:pt x="0" y="3828704"/>
                </a:lnTo>
                <a:lnTo>
                  <a:pt x="761400" y="3828704"/>
                </a:lnTo>
                <a:lnTo>
                  <a:pt x="0" y="3068885"/>
                </a:lnTo>
                <a:lnTo>
                  <a:pt x="0" y="3063809"/>
                </a:lnTo>
                <a:lnTo>
                  <a:pt x="761400" y="3063809"/>
                </a:lnTo>
                <a:lnTo>
                  <a:pt x="0" y="2301191"/>
                </a:lnTo>
                <a:lnTo>
                  <a:pt x="0" y="2296096"/>
                </a:lnTo>
                <a:lnTo>
                  <a:pt x="761400" y="2296096"/>
                </a:lnTo>
                <a:lnTo>
                  <a:pt x="0" y="1536277"/>
                </a:lnTo>
                <a:lnTo>
                  <a:pt x="0" y="1531200"/>
                </a:lnTo>
                <a:lnTo>
                  <a:pt x="761400" y="1531200"/>
                </a:lnTo>
                <a:lnTo>
                  <a:pt x="0" y="771381"/>
                </a:lnTo>
                <a:lnTo>
                  <a:pt x="0" y="766304"/>
                </a:lnTo>
                <a:lnTo>
                  <a:pt x="761400" y="766304"/>
                </a:lnTo>
                <a:lnTo>
                  <a:pt x="0" y="5086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325079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325079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1342658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-PHOTO-3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D29FB13F-F481-4850-8A44-6B7F0251133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38" y="0"/>
            <a:ext cx="5714962" cy="6858000"/>
          </a:xfrm>
          <a:custGeom>
            <a:avLst/>
            <a:gdLst>
              <a:gd name="connsiteX0" fmla="*/ 0 w 6091200"/>
              <a:gd name="connsiteY0" fmla="*/ 0 h 6858000"/>
              <a:gd name="connsiteX1" fmla="*/ 6091200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  <a:gd name="connsiteX0" fmla="*/ 0 w 6091200"/>
              <a:gd name="connsiteY0" fmla="*/ 0 h 6858000"/>
              <a:gd name="connsiteX1" fmla="*/ 5714962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  <a:gd name="connsiteX6" fmla="*/ 0 w 6091200"/>
              <a:gd name="connsiteY6" fmla="*/ 0 h 6858000"/>
              <a:gd name="connsiteX0" fmla="*/ 0 w 5714962"/>
              <a:gd name="connsiteY0" fmla="*/ 0 h 6858000"/>
              <a:gd name="connsiteX1" fmla="*/ 5714962 w 5714962"/>
              <a:gd name="connsiteY1" fmla="*/ 0 h 6858000"/>
              <a:gd name="connsiteX2" fmla="*/ 5705438 w 5714962"/>
              <a:gd name="connsiteY2" fmla="*/ 6858000 h 6858000"/>
              <a:gd name="connsiteX3" fmla="*/ 2286000 w 5714962"/>
              <a:gd name="connsiteY3" fmla="*/ 6858000 h 6858000"/>
              <a:gd name="connsiteX4" fmla="*/ 2286000 w 5714962"/>
              <a:gd name="connsiteY4" fmla="*/ 3429000 h 6858000"/>
              <a:gd name="connsiteX5" fmla="*/ 0 w 5714962"/>
              <a:gd name="connsiteY5" fmla="*/ 3429000 h 6858000"/>
              <a:gd name="connsiteX6" fmla="*/ 0 w 571496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14962" h="6858000">
                <a:moveTo>
                  <a:pt x="0" y="0"/>
                </a:moveTo>
                <a:lnTo>
                  <a:pt x="5714962" y="0"/>
                </a:lnTo>
                <a:cubicBezTo>
                  <a:pt x="5711787" y="2286000"/>
                  <a:pt x="5708613" y="4572000"/>
                  <a:pt x="5705438" y="6858000"/>
                </a:cubicBezTo>
                <a:lnTo>
                  <a:pt x="2286000" y="6858000"/>
                </a:lnTo>
                <a:lnTo>
                  <a:pt x="2286000" y="3429000"/>
                </a:lnTo>
                <a:lnTo>
                  <a:pt x="0" y="3429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55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55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7090936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-PHOTO-4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E9D88FC-E98C-4EEA-8137-242BC84351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19057" y="0"/>
            <a:ext cx="6849789" cy="6858000"/>
          </a:xfrm>
          <a:custGeom>
            <a:avLst/>
            <a:gdLst>
              <a:gd name="connsiteX0" fmla="*/ 3424894 w 6849789"/>
              <a:gd name="connsiteY0" fmla="*/ 0 h 6858000"/>
              <a:gd name="connsiteX1" fmla="*/ 6849789 w 6849789"/>
              <a:gd name="connsiteY1" fmla="*/ 3429000 h 6858000"/>
              <a:gd name="connsiteX2" fmla="*/ 3424894 w 6849789"/>
              <a:gd name="connsiteY2" fmla="*/ 6858000 h 6858000"/>
              <a:gd name="connsiteX3" fmla="*/ 4456 w 6849789"/>
              <a:gd name="connsiteY3" fmla="*/ 3605456 h 6858000"/>
              <a:gd name="connsiteX4" fmla="*/ 0 w 6849789"/>
              <a:gd name="connsiteY4" fmla="*/ 3429041 h 6858000"/>
              <a:gd name="connsiteX5" fmla="*/ 0 w 6849789"/>
              <a:gd name="connsiteY5" fmla="*/ 3428960 h 6858000"/>
              <a:gd name="connsiteX6" fmla="*/ 4456 w 6849789"/>
              <a:gd name="connsiteY6" fmla="*/ 3252544 h 6858000"/>
              <a:gd name="connsiteX7" fmla="*/ 3424894 w 6849789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49789" h="6858000">
                <a:moveTo>
                  <a:pt x="3424894" y="0"/>
                </a:moveTo>
                <a:cubicBezTo>
                  <a:pt x="5316411" y="0"/>
                  <a:pt x="6849789" y="1535216"/>
                  <a:pt x="6849789" y="3429000"/>
                </a:cubicBezTo>
                <a:cubicBezTo>
                  <a:pt x="6849789" y="5322784"/>
                  <a:pt x="5316411" y="6858000"/>
                  <a:pt x="3424894" y="6858000"/>
                </a:cubicBezTo>
                <a:cubicBezTo>
                  <a:pt x="1592487" y="6858000"/>
                  <a:pt x="96185" y="5417236"/>
                  <a:pt x="4456" y="3605456"/>
                </a:cubicBezTo>
                <a:lnTo>
                  <a:pt x="0" y="3429041"/>
                </a:lnTo>
                <a:lnTo>
                  <a:pt x="0" y="3428960"/>
                </a:lnTo>
                <a:lnTo>
                  <a:pt x="4456" y="3252544"/>
                </a:lnTo>
                <a:cubicBezTo>
                  <a:pt x="96185" y="1440764"/>
                  <a:pt x="1592487" y="0"/>
                  <a:pt x="3424894" y="0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4238057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4238057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685386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-PHOTO-1_Title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819A17B-6864-4D46-AA5B-EE9CE689186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21950" y="0"/>
            <a:ext cx="7271425" cy="6858000"/>
          </a:xfrm>
          <a:custGeom>
            <a:avLst/>
            <a:gdLst>
              <a:gd name="connsiteX0" fmla="*/ 0 w 7632000"/>
              <a:gd name="connsiteY0" fmla="*/ 0 h 6858000"/>
              <a:gd name="connsiteX1" fmla="*/ 7632000 w 7632000"/>
              <a:gd name="connsiteY1" fmla="*/ 0 h 6858000"/>
              <a:gd name="connsiteX2" fmla="*/ 7632000 w 7632000"/>
              <a:gd name="connsiteY2" fmla="*/ 6858000 h 6858000"/>
              <a:gd name="connsiteX3" fmla="*/ 2291650 w 7632000"/>
              <a:gd name="connsiteY3" fmla="*/ 6858000 h 6858000"/>
              <a:gd name="connsiteX4" fmla="*/ 2291650 w 7632000"/>
              <a:gd name="connsiteY4" fmla="*/ 6444218 h 6858000"/>
              <a:gd name="connsiteX5" fmla="*/ 2291650 w 7632000"/>
              <a:gd name="connsiteY5" fmla="*/ 2287588 h 6858000"/>
              <a:gd name="connsiteX6" fmla="*/ 7767 w 7632000"/>
              <a:gd name="connsiteY6" fmla="*/ 1588 h 6858000"/>
              <a:gd name="connsiteX7" fmla="*/ 0 w 7632000"/>
              <a:gd name="connsiteY7" fmla="*/ 1588 h 6858000"/>
              <a:gd name="connsiteX0" fmla="*/ 0 w 7632000"/>
              <a:gd name="connsiteY0" fmla="*/ 0 h 6858000"/>
              <a:gd name="connsiteX1" fmla="*/ 7632000 w 7632000"/>
              <a:gd name="connsiteY1" fmla="*/ 0 h 6858000"/>
              <a:gd name="connsiteX2" fmla="*/ 7241475 w 7632000"/>
              <a:gd name="connsiteY2" fmla="*/ 6853238 h 6858000"/>
              <a:gd name="connsiteX3" fmla="*/ 2291650 w 7632000"/>
              <a:gd name="connsiteY3" fmla="*/ 6858000 h 6858000"/>
              <a:gd name="connsiteX4" fmla="*/ 2291650 w 7632000"/>
              <a:gd name="connsiteY4" fmla="*/ 6444218 h 6858000"/>
              <a:gd name="connsiteX5" fmla="*/ 2291650 w 7632000"/>
              <a:gd name="connsiteY5" fmla="*/ 2287588 h 6858000"/>
              <a:gd name="connsiteX6" fmla="*/ 7767 w 7632000"/>
              <a:gd name="connsiteY6" fmla="*/ 1588 h 6858000"/>
              <a:gd name="connsiteX7" fmla="*/ 0 w 7632000"/>
              <a:gd name="connsiteY7" fmla="*/ 1588 h 6858000"/>
              <a:gd name="connsiteX8" fmla="*/ 0 w 7632000"/>
              <a:gd name="connsiteY8" fmla="*/ 0 h 6858000"/>
              <a:gd name="connsiteX0" fmla="*/ 0 w 7270050"/>
              <a:gd name="connsiteY0" fmla="*/ 0 h 6858000"/>
              <a:gd name="connsiteX1" fmla="*/ 7270050 w 7270050"/>
              <a:gd name="connsiteY1" fmla="*/ 0 h 6858000"/>
              <a:gd name="connsiteX2" fmla="*/ 7241475 w 7270050"/>
              <a:gd name="connsiteY2" fmla="*/ 6853238 h 6858000"/>
              <a:gd name="connsiteX3" fmla="*/ 2291650 w 7270050"/>
              <a:gd name="connsiteY3" fmla="*/ 6858000 h 6858000"/>
              <a:gd name="connsiteX4" fmla="*/ 2291650 w 7270050"/>
              <a:gd name="connsiteY4" fmla="*/ 6444218 h 6858000"/>
              <a:gd name="connsiteX5" fmla="*/ 2291650 w 7270050"/>
              <a:gd name="connsiteY5" fmla="*/ 2287588 h 6858000"/>
              <a:gd name="connsiteX6" fmla="*/ 7767 w 7270050"/>
              <a:gd name="connsiteY6" fmla="*/ 1588 h 6858000"/>
              <a:gd name="connsiteX7" fmla="*/ 0 w 7270050"/>
              <a:gd name="connsiteY7" fmla="*/ 1588 h 6858000"/>
              <a:gd name="connsiteX8" fmla="*/ 0 w 7270050"/>
              <a:gd name="connsiteY8" fmla="*/ 0 h 6858000"/>
              <a:gd name="connsiteX0" fmla="*/ 0 w 7270050"/>
              <a:gd name="connsiteY0" fmla="*/ 0 h 6858001"/>
              <a:gd name="connsiteX1" fmla="*/ 7270050 w 7270050"/>
              <a:gd name="connsiteY1" fmla="*/ 0 h 6858001"/>
              <a:gd name="connsiteX2" fmla="*/ 7255763 w 7270050"/>
              <a:gd name="connsiteY2" fmla="*/ 6858001 h 6858001"/>
              <a:gd name="connsiteX3" fmla="*/ 2291650 w 7270050"/>
              <a:gd name="connsiteY3" fmla="*/ 6858000 h 6858001"/>
              <a:gd name="connsiteX4" fmla="*/ 2291650 w 7270050"/>
              <a:gd name="connsiteY4" fmla="*/ 6444218 h 6858001"/>
              <a:gd name="connsiteX5" fmla="*/ 2291650 w 7270050"/>
              <a:gd name="connsiteY5" fmla="*/ 2287588 h 6858001"/>
              <a:gd name="connsiteX6" fmla="*/ 7767 w 7270050"/>
              <a:gd name="connsiteY6" fmla="*/ 1588 h 6858001"/>
              <a:gd name="connsiteX7" fmla="*/ 0 w 7270050"/>
              <a:gd name="connsiteY7" fmla="*/ 1588 h 6858001"/>
              <a:gd name="connsiteX8" fmla="*/ 0 w 7270050"/>
              <a:gd name="connsiteY8" fmla="*/ 0 h 6858001"/>
              <a:gd name="connsiteX0" fmla="*/ 0 w 7270050"/>
              <a:gd name="connsiteY0" fmla="*/ 0 h 6858001"/>
              <a:gd name="connsiteX1" fmla="*/ 7270050 w 7270050"/>
              <a:gd name="connsiteY1" fmla="*/ 0 h 6858001"/>
              <a:gd name="connsiteX2" fmla="*/ 6931913 w 7270050"/>
              <a:gd name="connsiteY2" fmla="*/ 6858001 h 6858001"/>
              <a:gd name="connsiteX3" fmla="*/ 2291650 w 7270050"/>
              <a:gd name="connsiteY3" fmla="*/ 6858000 h 6858001"/>
              <a:gd name="connsiteX4" fmla="*/ 2291650 w 7270050"/>
              <a:gd name="connsiteY4" fmla="*/ 6444218 h 6858001"/>
              <a:gd name="connsiteX5" fmla="*/ 2291650 w 7270050"/>
              <a:gd name="connsiteY5" fmla="*/ 2287588 h 6858001"/>
              <a:gd name="connsiteX6" fmla="*/ 7767 w 7270050"/>
              <a:gd name="connsiteY6" fmla="*/ 1588 h 6858001"/>
              <a:gd name="connsiteX7" fmla="*/ 0 w 7270050"/>
              <a:gd name="connsiteY7" fmla="*/ 1588 h 6858001"/>
              <a:gd name="connsiteX8" fmla="*/ 0 w 7270050"/>
              <a:gd name="connsiteY8" fmla="*/ 0 h 6858001"/>
              <a:gd name="connsiteX0" fmla="*/ 0 w 7271425"/>
              <a:gd name="connsiteY0" fmla="*/ 0 h 6858000"/>
              <a:gd name="connsiteX1" fmla="*/ 7270050 w 7271425"/>
              <a:gd name="connsiteY1" fmla="*/ 0 h 6858000"/>
              <a:gd name="connsiteX2" fmla="*/ 7270051 w 7271425"/>
              <a:gd name="connsiteY2" fmla="*/ 6848476 h 6858000"/>
              <a:gd name="connsiteX3" fmla="*/ 2291650 w 7271425"/>
              <a:gd name="connsiteY3" fmla="*/ 6858000 h 6858000"/>
              <a:gd name="connsiteX4" fmla="*/ 2291650 w 7271425"/>
              <a:gd name="connsiteY4" fmla="*/ 6444218 h 6858000"/>
              <a:gd name="connsiteX5" fmla="*/ 2291650 w 7271425"/>
              <a:gd name="connsiteY5" fmla="*/ 2287588 h 6858000"/>
              <a:gd name="connsiteX6" fmla="*/ 7767 w 7271425"/>
              <a:gd name="connsiteY6" fmla="*/ 1588 h 6858000"/>
              <a:gd name="connsiteX7" fmla="*/ 0 w 7271425"/>
              <a:gd name="connsiteY7" fmla="*/ 1588 h 6858000"/>
              <a:gd name="connsiteX8" fmla="*/ 0 w 727142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71425" h="6858000">
                <a:moveTo>
                  <a:pt x="0" y="0"/>
                </a:moveTo>
                <a:lnTo>
                  <a:pt x="7270050" y="0"/>
                </a:lnTo>
                <a:cubicBezTo>
                  <a:pt x="7265288" y="2286000"/>
                  <a:pt x="7274813" y="4562476"/>
                  <a:pt x="7270051" y="6848476"/>
                </a:cubicBezTo>
                <a:lnTo>
                  <a:pt x="2291650" y="6858000"/>
                </a:lnTo>
                <a:lnTo>
                  <a:pt x="2291650" y="6444218"/>
                </a:lnTo>
                <a:lnTo>
                  <a:pt x="2291650" y="2287588"/>
                </a:lnTo>
                <a:cubicBezTo>
                  <a:pt x="1030756" y="2287588"/>
                  <a:pt x="7767" y="1263651"/>
                  <a:pt x="7767" y="1588"/>
                </a:cubicBezTo>
                <a:lnTo>
                  <a:pt x="0" y="1588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55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55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7670594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-PHOTO-2_Title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E76EBFB5-0A71-4F51-B5CD-294B48EBA78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06079" y="-2"/>
            <a:ext cx="6507275" cy="6863318"/>
          </a:xfrm>
          <a:custGeom>
            <a:avLst/>
            <a:gdLst>
              <a:gd name="connsiteX0" fmla="*/ 0 w 4597199"/>
              <a:gd name="connsiteY0" fmla="*/ 0 h 4593599"/>
              <a:gd name="connsiteX1" fmla="*/ 4597199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  <a:gd name="connsiteX0" fmla="*/ 0 w 4597199"/>
              <a:gd name="connsiteY0" fmla="*/ 0 h 4593599"/>
              <a:gd name="connsiteX1" fmla="*/ 4340812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  <a:gd name="connsiteX20" fmla="*/ 0 w 4597199"/>
              <a:gd name="connsiteY20" fmla="*/ 0 h 4593599"/>
              <a:gd name="connsiteX0" fmla="*/ 0 w 4344374"/>
              <a:gd name="connsiteY0" fmla="*/ 0 h 4597160"/>
              <a:gd name="connsiteX1" fmla="*/ 4340812 w 4344374"/>
              <a:gd name="connsiteY1" fmla="*/ 0 h 4597160"/>
              <a:gd name="connsiteX2" fmla="*/ 4344374 w 4344374"/>
              <a:gd name="connsiteY2" fmla="*/ 4597160 h 4597160"/>
              <a:gd name="connsiteX3" fmla="*/ 761399 w 4344374"/>
              <a:gd name="connsiteY3" fmla="*/ 4593599 h 4597160"/>
              <a:gd name="connsiteX4" fmla="*/ 0 w 4344374"/>
              <a:gd name="connsiteY4" fmla="*/ 3833781 h 4597160"/>
              <a:gd name="connsiteX5" fmla="*/ 0 w 4344374"/>
              <a:gd name="connsiteY5" fmla="*/ 3828704 h 4597160"/>
              <a:gd name="connsiteX6" fmla="*/ 761400 w 4344374"/>
              <a:gd name="connsiteY6" fmla="*/ 3828704 h 4597160"/>
              <a:gd name="connsiteX7" fmla="*/ 0 w 4344374"/>
              <a:gd name="connsiteY7" fmla="*/ 3068885 h 4597160"/>
              <a:gd name="connsiteX8" fmla="*/ 0 w 4344374"/>
              <a:gd name="connsiteY8" fmla="*/ 3063809 h 4597160"/>
              <a:gd name="connsiteX9" fmla="*/ 761400 w 4344374"/>
              <a:gd name="connsiteY9" fmla="*/ 3063809 h 4597160"/>
              <a:gd name="connsiteX10" fmla="*/ 0 w 4344374"/>
              <a:gd name="connsiteY10" fmla="*/ 2301191 h 4597160"/>
              <a:gd name="connsiteX11" fmla="*/ 0 w 4344374"/>
              <a:gd name="connsiteY11" fmla="*/ 2296096 h 4597160"/>
              <a:gd name="connsiteX12" fmla="*/ 761400 w 4344374"/>
              <a:gd name="connsiteY12" fmla="*/ 2296096 h 4597160"/>
              <a:gd name="connsiteX13" fmla="*/ 0 w 4344374"/>
              <a:gd name="connsiteY13" fmla="*/ 1536277 h 4597160"/>
              <a:gd name="connsiteX14" fmla="*/ 0 w 4344374"/>
              <a:gd name="connsiteY14" fmla="*/ 1531200 h 4597160"/>
              <a:gd name="connsiteX15" fmla="*/ 761400 w 4344374"/>
              <a:gd name="connsiteY15" fmla="*/ 1531200 h 4597160"/>
              <a:gd name="connsiteX16" fmla="*/ 0 w 4344374"/>
              <a:gd name="connsiteY16" fmla="*/ 771381 h 4597160"/>
              <a:gd name="connsiteX17" fmla="*/ 0 w 4344374"/>
              <a:gd name="connsiteY17" fmla="*/ 766304 h 4597160"/>
              <a:gd name="connsiteX18" fmla="*/ 761400 w 4344374"/>
              <a:gd name="connsiteY18" fmla="*/ 766304 h 4597160"/>
              <a:gd name="connsiteX19" fmla="*/ 0 w 4344374"/>
              <a:gd name="connsiteY19" fmla="*/ 5086 h 4597160"/>
              <a:gd name="connsiteX20" fmla="*/ 0 w 4344374"/>
              <a:gd name="connsiteY20" fmla="*/ 0 h 4597160"/>
              <a:gd name="connsiteX0" fmla="*/ 0 w 4344374"/>
              <a:gd name="connsiteY0" fmla="*/ 0 h 4597160"/>
              <a:gd name="connsiteX1" fmla="*/ 4233984 w 4344374"/>
              <a:gd name="connsiteY1" fmla="*/ 0 h 4597160"/>
              <a:gd name="connsiteX2" fmla="*/ 4344374 w 4344374"/>
              <a:gd name="connsiteY2" fmla="*/ 4597160 h 4597160"/>
              <a:gd name="connsiteX3" fmla="*/ 761399 w 4344374"/>
              <a:gd name="connsiteY3" fmla="*/ 4593599 h 4597160"/>
              <a:gd name="connsiteX4" fmla="*/ 0 w 4344374"/>
              <a:gd name="connsiteY4" fmla="*/ 3833781 h 4597160"/>
              <a:gd name="connsiteX5" fmla="*/ 0 w 4344374"/>
              <a:gd name="connsiteY5" fmla="*/ 3828704 h 4597160"/>
              <a:gd name="connsiteX6" fmla="*/ 761400 w 4344374"/>
              <a:gd name="connsiteY6" fmla="*/ 3828704 h 4597160"/>
              <a:gd name="connsiteX7" fmla="*/ 0 w 4344374"/>
              <a:gd name="connsiteY7" fmla="*/ 3068885 h 4597160"/>
              <a:gd name="connsiteX8" fmla="*/ 0 w 4344374"/>
              <a:gd name="connsiteY8" fmla="*/ 3063809 h 4597160"/>
              <a:gd name="connsiteX9" fmla="*/ 761400 w 4344374"/>
              <a:gd name="connsiteY9" fmla="*/ 3063809 h 4597160"/>
              <a:gd name="connsiteX10" fmla="*/ 0 w 4344374"/>
              <a:gd name="connsiteY10" fmla="*/ 2301191 h 4597160"/>
              <a:gd name="connsiteX11" fmla="*/ 0 w 4344374"/>
              <a:gd name="connsiteY11" fmla="*/ 2296096 h 4597160"/>
              <a:gd name="connsiteX12" fmla="*/ 761400 w 4344374"/>
              <a:gd name="connsiteY12" fmla="*/ 2296096 h 4597160"/>
              <a:gd name="connsiteX13" fmla="*/ 0 w 4344374"/>
              <a:gd name="connsiteY13" fmla="*/ 1536277 h 4597160"/>
              <a:gd name="connsiteX14" fmla="*/ 0 w 4344374"/>
              <a:gd name="connsiteY14" fmla="*/ 1531200 h 4597160"/>
              <a:gd name="connsiteX15" fmla="*/ 761400 w 4344374"/>
              <a:gd name="connsiteY15" fmla="*/ 1531200 h 4597160"/>
              <a:gd name="connsiteX16" fmla="*/ 0 w 4344374"/>
              <a:gd name="connsiteY16" fmla="*/ 771381 h 4597160"/>
              <a:gd name="connsiteX17" fmla="*/ 0 w 4344374"/>
              <a:gd name="connsiteY17" fmla="*/ 766304 h 4597160"/>
              <a:gd name="connsiteX18" fmla="*/ 761400 w 4344374"/>
              <a:gd name="connsiteY18" fmla="*/ 766304 h 4597160"/>
              <a:gd name="connsiteX19" fmla="*/ 0 w 4344374"/>
              <a:gd name="connsiteY19" fmla="*/ 5086 h 4597160"/>
              <a:gd name="connsiteX20" fmla="*/ 0 w 4344374"/>
              <a:gd name="connsiteY20" fmla="*/ 0 h 4597160"/>
              <a:gd name="connsiteX0" fmla="*/ 0 w 4358677"/>
              <a:gd name="connsiteY0" fmla="*/ 0 h 4597160"/>
              <a:gd name="connsiteX1" fmla="*/ 4358617 w 4358677"/>
              <a:gd name="connsiteY1" fmla="*/ 0 h 4597160"/>
              <a:gd name="connsiteX2" fmla="*/ 4344374 w 4358677"/>
              <a:gd name="connsiteY2" fmla="*/ 4597160 h 4597160"/>
              <a:gd name="connsiteX3" fmla="*/ 761399 w 4358677"/>
              <a:gd name="connsiteY3" fmla="*/ 4593599 h 4597160"/>
              <a:gd name="connsiteX4" fmla="*/ 0 w 4358677"/>
              <a:gd name="connsiteY4" fmla="*/ 3833781 h 4597160"/>
              <a:gd name="connsiteX5" fmla="*/ 0 w 4358677"/>
              <a:gd name="connsiteY5" fmla="*/ 3828704 h 4597160"/>
              <a:gd name="connsiteX6" fmla="*/ 761400 w 4358677"/>
              <a:gd name="connsiteY6" fmla="*/ 3828704 h 4597160"/>
              <a:gd name="connsiteX7" fmla="*/ 0 w 4358677"/>
              <a:gd name="connsiteY7" fmla="*/ 3068885 h 4597160"/>
              <a:gd name="connsiteX8" fmla="*/ 0 w 4358677"/>
              <a:gd name="connsiteY8" fmla="*/ 3063809 h 4597160"/>
              <a:gd name="connsiteX9" fmla="*/ 761400 w 4358677"/>
              <a:gd name="connsiteY9" fmla="*/ 3063809 h 4597160"/>
              <a:gd name="connsiteX10" fmla="*/ 0 w 4358677"/>
              <a:gd name="connsiteY10" fmla="*/ 2301191 h 4597160"/>
              <a:gd name="connsiteX11" fmla="*/ 0 w 4358677"/>
              <a:gd name="connsiteY11" fmla="*/ 2296096 h 4597160"/>
              <a:gd name="connsiteX12" fmla="*/ 761400 w 4358677"/>
              <a:gd name="connsiteY12" fmla="*/ 2296096 h 4597160"/>
              <a:gd name="connsiteX13" fmla="*/ 0 w 4358677"/>
              <a:gd name="connsiteY13" fmla="*/ 1536277 h 4597160"/>
              <a:gd name="connsiteX14" fmla="*/ 0 w 4358677"/>
              <a:gd name="connsiteY14" fmla="*/ 1531200 h 4597160"/>
              <a:gd name="connsiteX15" fmla="*/ 761400 w 4358677"/>
              <a:gd name="connsiteY15" fmla="*/ 1531200 h 4597160"/>
              <a:gd name="connsiteX16" fmla="*/ 0 w 4358677"/>
              <a:gd name="connsiteY16" fmla="*/ 771381 h 4597160"/>
              <a:gd name="connsiteX17" fmla="*/ 0 w 4358677"/>
              <a:gd name="connsiteY17" fmla="*/ 766304 h 4597160"/>
              <a:gd name="connsiteX18" fmla="*/ 761400 w 4358677"/>
              <a:gd name="connsiteY18" fmla="*/ 766304 h 4597160"/>
              <a:gd name="connsiteX19" fmla="*/ 0 w 4358677"/>
              <a:gd name="connsiteY19" fmla="*/ 5086 h 4597160"/>
              <a:gd name="connsiteX20" fmla="*/ 0 w 4358677"/>
              <a:gd name="connsiteY20" fmla="*/ 0 h 4597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358677" h="4597160">
                <a:moveTo>
                  <a:pt x="0" y="0"/>
                </a:moveTo>
                <a:lnTo>
                  <a:pt x="4358617" y="0"/>
                </a:lnTo>
                <a:cubicBezTo>
                  <a:pt x="4359804" y="1532387"/>
                  <a:pt x="4343187" y="3064773"/>
                  <a:pt x="4344374" y="4597160"/>
                </a:cubicBezTo>
                <a:lnTo>
                  <a:pt x="761399" y="4593599"/>
                </a:lnTo>
                <a:lnTo>
                  <a:pt x="0" y="3833781"/>
                </a:lnTo>
                <a:lnTo>
                  <a:pt x="0" y="3828704"/>
                </a:lnTo>
                <a:lnTo>
                  <a:pt x="761400" y="3828704"/>
                </a:lnTo>
                <a:lnTo>
                  <a:pt x="0" y="3068885"/>
                </a:lnTo>
                <a:lnTo>
                  <a:pt x="0" y="3063809"/>
                </a:lnTo>
                <a:lnTo>
                  <a:pt x="761400" y="3063809"/>
                </a:lnTo>
                <a:lnTo>
                  <a:pt x="0" y="2301191"/>
                </a:lnTo>
                <a:lnTo>
                  <a:pt x="0" y="2296096"/>
                </a:lnTo>
                <a:lnTo>
                  <a:pt x="761400" y="2296096"/>
                </a:lnTo>
                <a:lnTo>
                  <a:pt x="0" y="1536277"/>
                </a:lnTo>
                <a:lnTo>
                  <a:pt x="0" y="1531200"/>
                </a:lnTo>
                <a:lnTo>
                  <a:pt x="761400" y="1531200"/>
                </a:lnTo>
                <a:lnTo>
                  <a:pt x="0" y="771381"/>
                </a:lnTo>
                <a:lnTo>
                  <a:pt x="0" y="766304"/>
                </a:lnTo>
                <a:lnTo>
                  <a:pt x="761400" y="766304"/>
                </a:lnTo>
                <a:lnTo>
                  <a:pt x="0" y="5086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325079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325079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5711396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-PHOTO-3_Title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DE04F1A2-9286-4958-8766-6949905479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38" y="0"/>
            <a:ext cx="5714962" cy="6858000"/>
          </a:xfrm>
          <a:custGeom>
            <a:avLst/>
            <a:gdLst>
              <a:gd name="connsiteX0" fmla="*/ 0 w 6091200"/>
              <a:gd name="connsiteY0" fmla="*/ 0 h 6858000"/>
              <a:gd name="connsiteX1" fmla="*/ 6091200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  <a:gd name="connsiteX0" fmla="*/ 0 w 6091200"/>
              <a:gd name="connsiteY0" fmla="*/ 0 h 6858000"/>
              <a:gd name="connsiteX1" fmla="*/ 5714962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  <a:gd name="connsiteX6" fmla="*/ 0 w 6091200"/>
              <a:gd name="connsiteY6" fmla="*/ 0 h 6858000"/>
              <a:gd name="connsiteX0" fmla="*/ 0 w 5714962"/>
              <a:gd name="connsiteY0" fmla="*/ 0 h 6858000"/>
              <a:gd name="connsiteX1" fmla="*/ 5714962 w 5714962"/>
              <a:gd name="connsiteY1" fmla="*/ 0 h 6858000"/>
              <a:gd name="connsiteX2" fmla="*/ 5705438 w 5714962"/>
              <a:gd name="connsiteY2" fmla="*/ 6858000 h 6858000"/>
              <a:gd name="connsiteX3" fmla="*/ 2286000 w 5714962"/>
              <a:gd name="connsiteY3" fmla="*/ 6858000 h 6858000"/>
              <a:gd name="connsiteX4" fmla="*/ 2286000 w 5714962"/>
              <a:gd name="connsiteY4" fmla="*/ 3429000 h 6858000"/>
              <a:gd name="connsiteX5" fmla="*/ 0 w 5714962"/>
              <a:gd name="connsiteY5" fmla="*/ 3429000 h 6858000"/>
              <a:gd name="connsiteX6" fmla="*/ 0 w 571496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14962" h="6858000">
                <a:moveTo>
                  <a:pt x="0" y="0"/>
                </a:moveTo>
                <a:lnTo>
                  <a:pt x="5714962" y="0"/>
                </a:lnTo>
                <a:cubicBezTo>
                  <a:pt x="5711787" y="2286000"/>
                  <a:pt x="5708613" y="4572000"/>
                  <a:pt x="5705438" y="6858000"/>
                </a:cubicBezTo>
                <a:lnTo>
                  <a:pt x="2286000" y="6858000"/>
                </a:lnTo>
                <a:lnTo>
                  <a:pt x="2286000" y="3429000"/>
                </a:lnTo>
                <a:lnTo>
                  <a:pt x="0" y="3429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55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55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8005917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ITE_Photo+BigQuote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33D383-98C3-40EB-8FCB-C0B373AAFF8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65125"/>
            <a:ext cx="11429324" cy="609397"/>
          </a:xfrm>
        </p:spPr>
        <p:txBody>
          <a:bodyPr/>
          <a:lstStyle>
            <a:lvl1pPr>
              <a:defRPr sz="576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0BBAA98F-390E-499A-B627-325A06F524F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55910" y="5753101"/>
            <a:ext cx="954414" cy="642423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920"/>
          </a:p>
        </p:txBody>
      </p:sp>
    </p:spTree>
    <p:extLst>
      <p:ext uri="{BB962C8B-B14F-4D97-AF65-F5344CB8AC3E}">
        <p14:creationId xmlns:p14="http://schemas.microsoft.com/office/powerpoint/2010/main" val="1265125263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-PHOTO-4_Title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F664677-64C6-4702-9FCA-14F776731B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19057" y="0"/>
            <a:ext cx="6849789" cy="6858000"/>
          </a:xfrm>
          <a:custGeom>
            <a:avLst/>
            <a:gdLst>
              <a:gd name="connsiteX0" fmla="*/ 3424894 w 6849789"/>
              <a:gd name="connsiteY0" fmla="*/ 0 h 6858000"/>
              <a:gd name="connsiteX1" fmla="*/ 6849789 w 6849789"/>
              <a:gd name="connsiteY1" fmla="*/ 3429000 h 6858000"/>
              <a:gd name="connsiteX2" fmla="*/ 3424894 w 6849789"/>
              <a:gd name="connsiteY2" fmla="*/ 6858000 h 6858000"/>
              <a:gd name="connsiteX3" fmla="*/ 4456 w 6849789"/>
              <a:gd name="connsiteY3" fmla="*/ 3605456 h 6858000"/>
              <a:gd name="connsiteX4" fmla="*/ 0 w 6849789"/>
              <a:gd name="connsiteY4" fmla="*/ 3429041 h 6858000"/>
              <a:gd name="connsiteX5" fmla="*/ 0 w 6849789"/>
              <a:gd name="connsiteY5" fmla="*/ 3428960 h 6858000"/>
              <a:gd name="connsiteX6" fmla="*/ 4456 w 6849789"/>
              <a:gd name="connsiteY6" fmla="*/ 3252544 h 6858000"/>
              <a:gd name="connsiteX7" fmla="*/ 3424894 w 6849789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49789" h="6858000">
                <a:moveTo>
                  <a:pt x="3424894" y="0"/>
                </a:moveTo>
                <a:cubicBezTo>
                  <a:pt x="5316411" y="0"/>
                  <a:pt x="6849789" y="1535216"/>
                  <a:pt x="6849789" y="3429000"/>
                </a:cubicBezTo>
                <a:cubicBezTo>
                  <a:pt x="6849789" y="5322784"/>
                  <a:pt x="5316411" y="6858000"/>
                  <a:pt x="3424894" y="6858000"/>
                </a:cubicBezTo>
                <a:cubicBezTo>
                  <a:pt x="1592487" y="6858000"/>
                  <a:pt x="96185" y="5417236"/>
                  <a:pt x="4456" y="3605456"/>
                </a:cubicBezTo>
                <a:lnTo>
                  <a:pt x="0" y="3429041"/>
                </a:lnTo>
                <a:lnTo>
                  <a:pt x="0" y="3428960"/>
                </a:lnTo>
                <a:lnTo>
                  <a:pt x="4456" y="3252544"/>
                </a:lnTo>
                <a:cubicBezTo>
                  <a:pt x="96185" y="1440764"/>
                  <a:pt x="1592487" y="0"/>
                  <a:pt x="3424894" y="0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4238057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4238057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8017548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W-PHOTO-1_Title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A34A2DF3-888E-4D48-94A8-F75390B0F3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21950" y="0"/>
            <a:ext cx="7271425" cy="6858000"/>
          </a:xfrm>
          <a:custGeom>
            <a:avLst/>
            <a:gdLst>
              <a:gd name="connsiteX0" fmla="*/ 0 w 7632000"/>
              <a:gd name="connsiteY0" fmla="*/ 0 h 6858000"/>
              <a:gd name="connsiteX1" fmla="*/ 7632000 w 7632000"/>
              <a:gd name="connsiteY1" fmla="*/ 0 h 6858000"/>
              <a:gd name="connsiteX2" fmla="*/ 7632000 w 7632000"/>
              <a:gd name="connsiteY2" fmla="*/ 6858000 h 6858000"/>
              <a:gd name="connsiteX3" fmla="*/ 2291650 w 7632000"/>
              <a:gd name="connsiteY3" fmla="*/ 6858000 h 6858000"/>
              <a:gd name="connsiteX4" fmla="*/ 2291650 w 7632000"/>
              <a:gd name="connsiteY4" fmla="*/ 6444218 h 6858000"/>
              <a:gd name="connsiteX5" fmla="*/ 2291650 w 7632000"/>
              <a:gd name="connsiteY5" fmla="*/ 2287588 h 6858000"/>
              <a:gd name="connsiteX6" fmla="*/ 7767 w 7632000"/>
              <a:gd name="connsiteY6" fmla="*/ 1588 h 6858000"/>
              <a:gd name="connsiteX7" fmla="*/ 0 w 7632000"/>
              <a:gd name="connsiteY7" fmla="*/ 1588 h 6858000"/>
              <a:gd name="connsiteX0" fmla="*/ 0 w 7632000"/>
              <a:gd name="connsiteY0" fmla="*/ 0 h 6858000"/>
              <a:gd name="connsiteX1" fmla="*/ 7632000 w 7632000"/>
              <a:gd name="connsiteY1" fmla="*/ 0 h 6858000"/>
              <a:gd name="connsiteX2" fmla="*/ 7241475 w 7632000"/>
              <a:gd name="connsiteY2" fmla="*/ 6853238 h 6858000"/>
              <a:gd name="connsiteX3" fmla="*/ 2291650 w 7632000"/>
              <a:gd name="connsiteY3" fmla="*/ 6858000 h 6858000"/>
              <a:gd name="connsiteX4" fmla="*/ 2291650 w 7632000"/>
              <a:gd name="connsiteY4" fmla="*/ 6444218 h 6858000"/>
              <a:gd name="connsiteX5" fmla="*/ 2291650 w 7632000"/>
              <a:gd name="connsiteY5" fmla="*/ 2287588 h 6858000"/>
              <a:gd name="connsiteX6" fmla="*/ 7767 w 7632000"/>
              <a:gd name="connsiteY6" fmla="*/ 1588 h 6858000"/>
              <a:gd name="connsiteX7" fmla="*/ 0 w 7632000"/>
              <a:gd name="connsiteY7" fmla="*/ 1588 h 6858000"/>
              <a:gd name="connsiteX8" fmla="*/ 0 w 7632000"/>
              <a:gd name="connsiteY8" fmla="*/ 0 h 6858000"/>
              <a:gd name="connsiteX0" fmla="*/ 0 w 7270050"/>
              <a:gd name="connsiteY0" fmla="*/ 0 h 6858000"/>
              <a:gd name="connsiteX1" fmla="*/ 7270050 w 7270050"/>
              <a:gd name="connsiteY1" fmla="*/ 0 h 6858000"/>
              <a:gd name="connsiteX2" fmla="*/ 7241475 w 7270050"/>
              <a:gd name="connsiteY2" fmla="*/ 6853238 h 6858000"/>
              <a:gd name="connsiteX3" fmla="*/ 2291650 w 7270050"/>
              <a:gd name="connsiteY3" fmla="*/ 6858000 h 6858000"/>
              <a:gd name="connsiteX4" fmla="*/ 2291650 w 7270050"/>
              <a:gd name="connsiteY4" fmla="*/ 6444218 h 6858000"/>
              <a:gd name="connsiteX5" fmla="*/ 2291650 w 7270050"/>
              <a:gd name="connsiteY5" fmla="*/ 2287588 h 6858000"/>
              <a:gd name="connsiteX6" fmla="*/ 7767 w 7270050"/>
              <a:gd name="connsiteY6" fmla="*/ 1588 h 6858000"/>
              <a:gd name="connsiteX7" fmla="*/ 0 w 7270050"/>
              <a:gd name="connsiteY7" fmla="*/ 1588 h 6858000"/>
              <a:gd name="connsiteX8" fmla="*/ 0 w 7270050"/>
              <a:gd name="connsiteY8" fmla="*/ 0 h 6858000"/>
              <a:gd name="connsiteX0" fmla="*/ 0 w 7270050"/>
              <a:gd name="connsiteY0" fmla="*/ 0 h 6858001"/>
              <a:gd name="connsiteX1" fmla="*/ 7270050 w 7270050"/>
              <a:gd name="connsiteY1" fmla="*/ 0 h 6858001"/>
              <a:gd name="connsiteX2" fmla="*/ 7255763 w 7270050"/>
              <a:gd name="connsiteY2" fmla="*/ 6858001 h 6858001"/>
              <a:gd name="connsiteX3" fmla="*/ 2291650 w 7270050"/>
              <a:gd name="connsiteY3" fmla="*/ 6858000 h 6858001"/>
              <a:gd name="connsiteX4" fmla="*/ 2291650 w 7270050"/>
              <a:gd name="connsiteY4" fmla="*/ 6444218 h 6858001"/>
              <a:gd name="connsiteX5" fmla="*/ 2291650 w 7270050"/>
              <a:gd name="connsiteY5" fmla="*/ 2287588 h 6858001"/>
              <a:gd name="connsiteX6" fmla="*/ 7767 w 7270050"/>
              <a:gd name="connsiteY6" fmla="*/ 1588 h 6858001"/>
              <a:gd name="connsiteX7" fmla="*/ 0 w 7270050"/>
              <a:gd name="connsiteY7" fmla="*/ 1588 h 6858001"/>
              <a:gd name="connsiteX8" fmla="*/ 0 w 7270050"/>
              <a:gd name="connsiteY8" fmla="*/ 0 h 6858001"/>
              <a:gd name="connsiteX0" fmla="*/ 0 w 7270050"/>
              <a:gd name="connsiteY0" fmla="*/ 0 h 6858001"/>
              <a:gd name="connsiteX1" fmla="*/ 7270050 w 7270050"/>
              <a:gd name="connsiteY1" fmla="*/ 0 h 6858001"/>
              <a:gd name="connsiteX2" fmla="*/ 6931913 w 7270050"/>
              <a:gd name="connsiteY2" fmla="*/ 6858001 h 6858001"/>
              <a:gd name="connsiteX3" fmla="*/ 2291650 w 7270050"/>
              <a:gd name="connsiteY3" fmla="*/ 6858000 h 6858001"/>
              <a:gd name="connsiteX4" fmla="*/ 2291650 w 7270050"/>
              <a:gd name="connsiteY4" fmla="*/ 6444218 h 6858001"/>
              <a:gd name="connsiteX5" fmla="*/ 2291650 w 7270050"/>
              <a:gd name="connsiteY5" fmla="*/ 2287588 h 6858001"/>
              <a:gd name="connsiteX6" fmla="*/ 7767 w 7270050"/>
              <a:gd name="connsiteY6" fmla="*/ 1588 h 6858001"/>
              <a:gd name="connsiteX7" fmla="*/ 0 w 7270050"/>
              <a:gd name="connsiteY7" fmla="*/ 1588 h 6858001"/>
              <a:gd name="connsiteX8" fmla="*/ 0 w 7270050"/>
              <a:gd name="connsiteY8" fmla="*/ 0 h 6858001"/>
              <a:gd name="connsiteX0" fmla="*/ 0 w 7271425"/>
              <a:gd name="connsiteY0" fmla="*/ 0 h 6858000"/>
              <a:gd name="connsiteX1" fmla="*/ 7270050 w 7271425"/>
              <a:gd name="connsiteY1" fmla="*/ 0 h 6858000"/>
              <a:gd name="connsiteX2" fmla="*/ 7270051 w 7271425"/>
              <a:gd name="connsiteY2" fmla="*/ 6848476 h 6858000"/>
              <a:gd name="connsiteX3" fmla="*/ 2291650 w 7271425"/>
              <a:gd name="connsiteY3" fmla="*/ 6858000 h 6858000"/>
              <a:gd name="connsiteX4" fmla="*/ 2291650 w 7271425"/>
              <a:gd name="connsiteY4" fmla="*/ 6444218 h 6858000"/>
              <a:gd name="connsiteX5" fmla="*/ 2291650 w 7271425"/>
              <a:gd name="connsiteY5" fmla="*/ 2287588 h 6858000"/>
              <a:gd name="connsiteX6" fmla="*/ 7767 w 7271425"/>
              <a:gd name="connsiteY6" fmla="*/ 1588 h 6858000"/>
              <a:gd name="connsiteX7" fmla="*/ 0 w 7271425"/>
              <a:gd name="connsiteY7" fmla="*/ 1588 h 6858000"/>
              <a:gd name="connsiteX8" fmla="*/ 0 w 727142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71425" h="6858000">
                <a:moveTo>
                  <a:pt x="0" y="0"/>
                </a:moveTo>
                <a:lnTo>
                  <a:pt x="7270050" y="0"/>
                </a:lnTo>
                <a:cubicBezTo>
                  <a:pt x="7265288" y="2286000"/>
                  <a:pt x="7274813" y="4562476"/>
                  <a:pt x="7270051" y="6848476"/>
                </a:cubicBezTo>
                <a:lnTo>
                  <a:pt x="2291650" y="6858000"/>
                </a:lnTo>
                <a:lnTo>
                  <a:pt x="2291650" y="6444218"/>
                </a:lnTo>
                <a:lnTo>
                  <a:pt x="2291650" y="2287588"/>
                </a:lnTo>
                <a:cubicBezTo>
                  <a:pt x="1030756" y="2287588"/>
                  <a:pt x="7767" y="1263651"/>
                  <a:pt x="7767" y="1588"/>
                </a:cubicBezTo>
                <a:lnTo>
                  <a:pt x="0" y="1588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55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55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4608067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W-PHOTO-2_Title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510DAF51-6C32-4152-8408-2317D0E27A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06079" y="-2"/>
            <a:ext cx="6507275" cy="6863318"/>
          </a:xfrm>
          <a:custGeom>
            <a:avLst/>
            <a:gdLst>
              <a:gd name="connsiteX0" fmla="*/ 0 w 4597199"/>
              <a:gd name="connsiteY0" fmla="*/ 0 h 4593599"/>
              <a:gd name="connsiteX1" fmla="*/ 4597199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  <a:gd name="connsiteX0" fmla="*/ 0 w 4597199"/>
              <a:gd name="connsiteY0" fmla="*/ 0 h 4593599"/>
              <a:gd name="connsiteX1" fmla="*/ 4340812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  <a:gd name="connsiteX20" fmla="*/ 0 w 4597199"/>
              <a:gd name="connsiteY20" fmla="*/ 0 h 4593599"/>
              <a:gd name="connsiteX0" fmla="*/ 0 w 4344374"/>
              <a:gd name="connsiteY0" fmla="*/ 0 h 4597160"/>
              <a:gd name="connsiteX1" fmla="*/ 4340812 w 4344374"/>
              <a:gd name="connsiteY1" fmla="*/ 0 h 4597160"/>
              <a:gd name="connsiteX2" fmla="*/ 4344374 w 4344374"/>
              <a:gd name="connsiteY2" fmla="*/ 4597160 h 4597160"/>
              <a:gd name="connsiteX3" fmla="*/ 761399 w 4344374"/>
              <a:gd name="connsiteY3" fmla="*/ 4593599 h 4597160"/>
              <a:gd name="connsiteX4" fmla="*/ 0 w 4344374"/>
              <a:gd name="connsiteY4" fmla="*/ 3833781 h 4597160"/>
              <a:gd name="connsiteX5" fmla="*/ 0 w 4344374"/>
              <a:gd name="connsiteY5" fmla="*/ 3828704 h 4597160"/>
              <a:gd name="connsiteX6" fmla="*/ 761400 w 4344374"/>
              <a:gd name="connsiteY6" fmla="*/ 3828704 h 4597160"/>
              <a:gd name="connsiteX7" fmla="*/ 0 w 4344374"/>
              <a:gd name="connsiteY7" fmla="*/ 3068885 h 4597160"/>
              <a:gd name="connsiteX8" fmla="*/ 0 w 4344374"/>
              <a:gd name="connsiteY8" fmla="*/ 3063809 h 4597160"/>
              <a:gd name="connsiteX9" fmla="*/ 761400 w 4344374"/>
              <a:gd name="connsiteY9" fmla="*/ 3063809 h 4597160"/>
              <a:gd name="connsiteX10" fmla="*/ 0 w 4344374"/>
              <a:gd name="connsiteY10" fmla="*/ 2301191 h 4597160"/>
              <a:gd name="connsiteX11" fmla="*/ 0 w 4344374"/>
              <a:gd name="connsiteY11" fmla="*/ 2296096 h 4597160"/>
              <a:gd name="connsiteX12" fmla="*/ 761400 w 4344374"/>
              <a:gd name="connsiteY12" fmla="*/ 2296096 h 4597160"/>
              <a:gd name="connsiteX13" fmla="*/ 0 w 4344374"/>
              <a:gd name="connsiteY13" fmla="*/ 1536277 h 4597160"/>
              <a:gd name="connsiteX14" fmla="*/ 0 w 4344374"/>
              <a:gd name="connsiteY14" fmla="*/ 1531200 h 4597160"/>
              <a:gd name="connsiteX15" fmla="*/ 761400 w 4344374"/>
              <a:gd name="connsiteY15" fmla="*/ 1531200 h 4597160"/>
              <a:gd name="connsiteX16" fmla="*/ 0 w 4344374"/>
              <a:gd name="connsiteY16" fmla="*/ 771381 h 4597160"/>
              <a:gd name="connsiteX17" fmla="*/ 0 w 4344374"/>
              <a:gd name="connsiteY17" fmla="*/ 766304 h 4597160"/>
              <a:gd name="connsiteX18" fmla="*/ 761400 w 4344374"/>
              <a:gd name="connsiteY18" fmla="*/ 766304 h 4597160"/>
              <a:gd name="connsiteX19" fmla="*/ 0 w 4344374"/>
              <a:gd name="connsiteY19" fmla="*/ 5086 h 4597160"/>
              <a:gd name="connsiteX20" fmla="*/ 0 w 4344374"/>
              <a:gd name="connsiteY20" fmla="*/ 0 h 4597160"/>
              <a:gd name="connsiteX0" fmla="*/ 0 w 4344374"/>
              <a:gd name="connsiteY0" fmla="*/ 0 h 4597160"/>
              <a:gd name="connsiteX1" fmla="*/ 4233984 w 4344374"/>
              <a:gd name="connsiteY1" fmla="*/ 0 h 4597160"/>
              <a:gd name="connsiteX2" fmla="*/ 4344374 w 4344374"/>
              <a:gd name="connsiteY2" fmla="*/ 4597160 h 4597160"/>
              <a:gd name="connsiteX3" fmla="*/ 761399 w 4344374"/>
              <a:gd name="connsiteY3" fmla="*/ 4593599 h 4597160"/>
              <a:gd name="connsiteX4" fmla="*/ 0 w 4344374"/>
              <a:gd name="connsiteY4" fmla="*/ 3833781 h 4597160"/>
              <a:gd name="connsiteX5" fmla="*/ 0 w 4344374"/>
              <a:gd name="connsiteY5" fmla="*/ 3828704 h 4597160"/>
              <a:gd name="connsiteX6" fmla="*/ 761400 w 4344374"/>
              <a:gd name="connsiteY6" fmla="*/ 3828704 h 4597160"/>
              <a:gd name="connsiteX7" fmla="*/ 0 w 4344374"/>
              <a:gd name="connsiteY7" fmla="*/ 3068885 h 4597160"/>
              <a:gd name="connsiteX8" fmla="*/ 0 w 4344374"/>
              <a:gd name="connsiteY8" fmla="*/ 3063809 h 4597160"/>
              <a:gd name="connsiteX9" fmla="*/ 761400 w 4344374"/>
              <a:gd name="connsiteY9" fmla="*/ 3063809 h 4597160"/>
              <a:gd name="connsiteX10" fmla="*/ 0 w 4344374"/>
              <a:gd name="connsiteY10" fmla="*/ 2301191 h 4597160"/>
              <a:gd name="connsiteX11" fmla="*/ 0 w 4344374"/>
              <a:gd name="connsiteY11" fmla="*/ 2296096 h 4597160"/>
              <a:gd name="connsiteX12" fmla="*/ 761400 w 4344374"/>
              <a:gd name="connsiteY12" fmla="*/ 2296096 h 4597160"/>
              <a:gd name="connsiteX13" fmla="*/ 0 w 4344374"/>
              <a:gd name="connsiteY13" fmla="*/ 1536277 h 4597160"/>
              <a:gd name="connsiteX14" fmla="*/ 0 w 4344374"/>
              <a:gd name="connsiteY14" fmla="*/ 1531200 h 4597160"/>
              <a:gd name="connsiteX15" fmla="*/ 761400 w 4344374"/>
              <a:gd name="connsiteY15" fmla="*/ 1531200 h 4597160"/>
              <a:gd name="connsiteX16" fmla="*/ 0 w 4344374"/>
              <a:gd name="connsiteY16" fmla="*/ 771381 h 4597160"/>
              <a:gd name="connsiteX17" fmla="*/ 0 w 4344374"/>
              <a:gd name="connsiteY17" fmla="*/ 766304 h 4597160"/>
              <a:gd name="connsiteX18" fmla="*/ 761400 w 4344374"/>
              <a:gd name="connsiteY18" fmla="*/ 766304 h 4597160"/>
              <a:gd name="connsiteX19" fmla="*/ 0 w 4344374"/>
              <a:gd name="connsiteY19" fmla="*/ 5086 h 4597160"/>
              <a:gd name="connsiteX20" fmla="*/ 0 w 4344374"/>
              <a:gd name="connsiteY20" fmla="*/ 0 h 4597160"/>
              <a:gd name="connsiteX0" fmla="*/ 0 w 4358677"/>
              <a:gd name="connsiteY0" fmla="*/ 0 h 4597160"/>
              <a:gd name="connsiteX1" fmla="*/ 4358617 w 4358677"/>
              <a:gd name="connsiteY1" fmla="*/ 0 h 4597160"/>
              <a:gd name="connsiteX2" fmla="*/ 4344374 w 4358677"/>
              <a:gd name="connsiteY2" fmla="*/ 4597160 h 4597160"/>
              <a:gd name="connsiteX3" fmla="*/ 761399 w 4358677"/>
              <a:gd name="connsiteY3" fmla="*/ 4593599 h 4597160"/>
              <a:gd name="connsiteX4" fmla="*/ 0 w 4358677"/>
              <a:gd name="connsiteY4" fmla="*/ 3833781 h 4597160"/>
              <a:gd name="connsiteX5" fmla="*/ 0 w 4358677"/>
              <a:gd name="connsiteY5" fmla="*/ 3828704 h 4597160"/>
              <a:gd name="connsiteX6" fmla="*/ 761400 w 4358677"/>
              <a:gd name="connsiteY6" fmla="*/ 3828704 h 4597160"/>
              <a:gd name="connsiteX7" fmla="*/ 0 w 4358677"/>
              <a:gd name="connsiteY7" fmla="*/ 3068885 h 4597160"/>
              <a:gd name="connsiteX8" fmla="*/ 0 w 4358677"/>
              <a:gd name="connsiteY8" fmla="*/ 3063809 h 4597160"/>
              <a:gd name="connsiteX9" fmla="*/ 761400 w 4358677"/>
              <a:gd name="connsiteY9" fmla="*/ 3063809 h 4597160"/>
              <a:gd name="connsiteX10" fmla="*/ 0 w 4358677"/>
              <a:gd name="connsiteY10" fmla="*/ 2301191 h 4597160"/>
              <a:gd name="connsiteX11" fmla="*/ 0 w 4358677"/>
              <a:gd name="connsiteY11" fmla="*/ 2296096 h 4597160"/>
              <a:gd name="connsiteX12" fmla="*/ 761400 w 4358677"/>
              <a:gd name="connsiteY12" fmla="*/ 2296096 h 4597160"/>
              <a:gd name="connsiteX13" fmla="*/ 0 w 4358677"/>
              <a:gd name="connsiteY13" fmla="*/ 1536277 h 4597160"/>
              <a:gd name="connsiteX14" fmla="*/ 0 w 4358677"/>
              <a:gd name="connsiteY14" fmla="*/ 1531200 h 4597160"/>
              <a:gd name="connsiteX15" fmla="*/ 761400 w 4358677"/>
              <a:gd name="connsiteY15" fmla="*/ 1531200 h 4597160"/>
              <a:gd name="connsiteX16" fmla="*/ 0 w 4358677"/>
              <a:gd name="connsiteY16" fmla="*/ 771381 h 4597160"/>
              <a:gd name="connsiteX17" fmla="*/ 0 w 4358677"/>
              <a:gd name="connsiteY17" fmla="*/ 766304 h 4597160"/>
              <a:gd name="connsiteX18" fmla="*/ 761400 w 4358677"/>
              <a:gd name="connsiteY18" fmla="*/ 766304 h 4597160"/>
              <a:gd name="connsiteX19" fmla="*/ 0 w 4358677"/>
              <a:gd name="connsiteY19" fmla="*/ 5086 h 4597160"/>
              <a:gd name="connsiteX20" fmla="*/ 0 w 4358677"/>
              <a:gd name="connsiteY20" fmla="*/ 0 h 4597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358677" h="4597160">
                <a:moveTo>
                  <a:pt x="0" y="0"/>
                </a:moveTo>
                <a:lnTo>
                  <a:pt x="4358617" y="0"/>
                </a:lnTo>
                <a:cubicBezTo>
                  <a:pt x="4359804" y="1532387"/>
                  <a:pt x="4343187" y="3064773"/>
                  <a:pt x="4344374" y="4597160"/>
                </a:cubicBezTo>
                <a:lnTo>
                  <a:pt x="761399" y="4593599"/>
                </a:lnTo>
                <a:lnTo>
                  <a:pt x="0" y="3833781"/>
                </a:lnTo>
                <a:lnTo>
                  <a:pt x="0" y="3828704"/>
                </a:lnTo>
                <a:lnTo>
                  <a:pt x="761400" y="3828704"/>
                </a:lnTo>
                <a:lnTo>
                  <a:pt x="0" y="3068885"/>
                </a:lnTo>
                <a:lnTo>
                  <a:pt x="0" y="3063809"/>
                </a:lnTo>
                <a:lnTo>
                  <a:pt x="761400" y="3063809"/>
                </a:lnTo>
                <a:lnTo>
                  <a:pt x="0" y="2301191"/>
                </a:lnTo>
                <a:lnTo>
                  <a:pt x="0" y="2296096"/>
                </a:lnTo>
                <a:lnTo>
                  <a:pt x="761400" y="2296096"/>
                </a:lnTo>
                <a:lnTo>
                  <a:pt x="0" y="1536277"/>
                </a:lnTo>
                <a:lnTo>
                  <a:pt x="0" y="1531200"/>
                </a:lnTo>
                <a:lnTo>
                  <a:pt x="761400" y="1531200"/>
                </a:lnTo>
                <a:lnTo>
                  <a:pt x="0" y="771381"/>
                </a:lnTo>
                <a:lnTo>
                  <a:pt x="0" y="766304"/>
                </a:lnTo>
                <a:lnTo>
                  <a:pt x="761400" y="766304"/>
                </a:lnTo>
                <a:lnTo>
                  <a:pt x="0" y="5086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325079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325079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89102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W-PHOTO-3_Title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570CE63D-34C4-4B86-9654-42997276DAD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38" y="0"/>
            <a:ext cx="5714962" cy="6858000"/>
          </a:xfrm>
          <a:custGeom>
            <a:avLst/>
            <a:gdLst>
              <a:gd name="connsiteX0" fmla="*/ 0 w 6091200"/>
              <a:gd name="connsiteY0" fmla="*/ 0 h 6858000"/>
              <a:gd name="connsiteX1" fmla="*/ 6091200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  <a:gd name="connsiteX0" fmla="*/ 0 w 6091200"/>
              <a:gd name="connsiteY0" fmla="*/ 0 h 6858000"/>
              <a:gd name="connsiteX1" fmla="*/ 5714962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  <a:gd name="connsiteX6" fmla="*/ 0 w 6091200"/>
              <a:gd name="connsiteY6" fmla="*/ 0 h 6858000"/>
              <a:gd name="connsiteX0" fmla="*/ 0 w 5714962"/>
              <a:gd name="connsiteY0" fmla="*/ 0 h 6858000"/>
              <a:gd name="connsiteX1" fmla="*/ 5714962 w 5714962"/>
              <a:gd name="connsiteY1" fmla="*/ 0 h 6858000"/>
              <a:gd name="connsiteX2" fmla="*/ 5705438 w 5714962"/>
              <a:gd name="connsiteY2" fmla="*/ 6858000 h 6858000"/>
              <a:gd name="connsiteX3" fmla="*/ 2286000 w 5714962"/>
              <a:gd name="connsiteY3" fmla="*/ 6858000 h 6858000"/>
              <a:gd name="connsiteX4" fmla="*/ 2286000 w 5714962"/>
              <a:gd name="connsiteY4" fmla="*/ 3429000 h 6858000"/>
              <a:gd name="connsiteX5" fmla="*/ 0 w 5714962"/>
              <a:gd name="connsiteY5" fmla="*/ 3429000 h 6858000"/>
              <a:gd name="connsiteX6" fmla="*/ 0 w 571496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14962" h="6858000">
                <a:moveTo>
                  <a:pt x="0" y="0"/>
                </a:moveTo>
                <a:lnTo>
                  <a:pt x="5714962" y="0"/>
                </a:lnTo>
                <a:cubicBezTo>
                  <a:pt x="5711787" y="2286000"/>
                  <a:pt x="5708613" y="4572000"/>
                  <a:pt x="5705438" y="6858000"/>
                </a:cubicBezTo>
                <a:lnTo>
                  <a:pt x="2286000" y="6858000"/>
                </a:lnTo>
                <a:lnTo>
                  <a:pt x="2286000" y="3429000"/>
                </a:lnTo>
                <a:lnTo>
                  <a:pt x="0" y="3429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55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55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621370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W-PHOTO-4_Title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191D90F-D8A2-49E5-8B92-9AE5C69C15E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19057" y="0"/>
            <a:ext cx="6849789" cy="6858000"/>
          </a:xfrm>
          <a:custGeom>
            <a:avLst/>
            <a:gdLst>
              <a:gd name="connsiteX0" fmla="*/ 3424894 w 6849789"/>
              <a:gd name="connsiteY0" fmla="*/ 0 h 6858000"/>
              <a:gd name="connsiteX1" fmla="*/ 6849789 w 6849789"/>
              <a:gd name="connsiteY1" fmla="*/ 3429000 h 6858000"/>
              <a:gd name="connsiteX2" fmla="*/ 3424894 w 6849789"/>
              <a:gd name="connsiteY2" fmla="*/ 6858000 h 6858000"/>
              <a:gd name="connsiteX3" fmla="*/ 4456 w 6849789"/>
              <a:gd name="connsiteY3" fmla="*/ 3605456 h 6858000"/>
              <a:gd name="connsiteX4" fmla="*/ 0 w 6849789"/>
              <a:gd name="connsiteY4" fmla="*/ 3429041 h 6858000"/>
              <a:gd name="connsiteX5" fmla="*/ 0 w 6849789"/>
              <a:gd name="connsiteY5" fmla="*/ 3428960 h 6858000"/>
              <a:gd name="connsiteX6" fmla="*/ 4456 w 6849789"/>
              <a:gd name="connsiteY6" fmla="*/ 3252544 h 6858000"/>
              <a:gd name="connsiteX7" fmla="*/ 3424894 w 6849789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49789" h="6858000">
                <a:moveTo>
                  <a:pt x="3424894" y="0"/>
                </a:moveTo>
                <a:cubicBezTo>
                  <a:pt x="5316411" y="0"/>
                  <a:pt x="6849789" y="1535216"/>
                  <a:pt x="6849789" y="3429000"/>
                </a:cubicBezTo>
                <a:cubicBezTo>
                  <a:pt x="6849789" y="5322784"/>
                  <a:pt x="5316411" y="6858000"/>
                  <a:pt x="3424894" y="6858000"/>
                </a:cubicBezTo>
                <a:cubicBezTo>
                  <a:pt x="1592487" y="6858000"/>
                  <a:pt x="96185" y="5417236"/>
                  <a:pt x="4456" y="3605456"/>
                </a:cubicBezTo>
                <a:lnTo>
                  <a:pt x="0" y="3429041"/>
                </a:lnTo>
                <a:lnTo>
                  <a:pt x="0" y="3428960"/>
                </a:lnTo>
                <a:lnTo>
                  <a:pt x="4456" y="3252544"/>
                </a:lnTo>
                <a:cubicBezTo>
                  <a:pt x="96185" y="1440764"/>
                  <a:pt x="1592487" y="0"/>
                  <a:pt x="3424894" y="0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4238057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4238057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8566651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-PHOTO-1_Title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4F625A51-3CBC-47CF-A686-2AA2245DF09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21950" y="0"/>
            <a:ext cx="7271425" cy="6858000"/>
          </a:xfrm>
          <a:custGeom>
            <a:avLst/>
            <a:gdLst>
              <a:gd name="connsiteX0" fmla="*/ 0 w 7632000"/>
              <a:gd name="connsiteY0" fmla="*/ 0 h 6858000"/>
              <a:gd name="connsiteX1" fmla="*/ 7632000 w 7632000"/>
              <a:gd name="connsiteY1" fmla="*/ 0 h 6858000"/>
              <a:gd name="connsiteX2" fmla="*/ 7632000 w 7632000"/>
              <a:gd name="connsiteY2" fmla="*/ 6858000 h 6858000"/>
              <a:gd name="connsiteX3" fmla="*/ 2291650 w 7632000"/>
              <a:gd name="connsiteY3" fmla="*/ 6858000 h 6858000"/>
              <a:gd name="connsiteX4" fmla="*/ 2291650 w 7632000"/>
              <a:gd name="connsiteY4" fmla="*/ 6444218 h 6858000"/>
              <a:gd name="connsiteX5" fmla="*/ 2291650 w 7632000"/>
              <a:gd name="connsiteY5" fmla="*/ 2287588 h 6858000"/>
              <a:gd name="connsiteX6" fmla="*/ 7767 w 7632000"/>
              <a:gd name="connsiteY6" fmla="*/ 1588 h 6858000"/>
              <a:gd name="connsiteX7" fmla="*/ 0 w 7632000"/>
              <a:gd name="connsiteY7" fmla="*/ 1588 h 6858000"/>
              <a:gd name="connsiteX0" fmla="*/ 0 w 7632000"/>
              <a:gd name="connsiteY0" fmla="*/ 0 h 6858000"/>
              <a:gd name="connsiteX1" fmla="*/ 7632000 w 7632000"/>
              <a:gd name="connsiteY1" fmla="*/ 0 h 6858000"/>
              <a:gd name="connsiteX2" fmla="*/ 7241475 w 7632000"/>
              <a:gd name="connsiteY2" fmla="*/ 6853238 h 6858000"/>
              <a:gd name="connsiteX3" fmla="*/ 2291650 w 7632000"/>
              <a:gd name="connsiteY3" fmla="*/ 6858000 h 6858000"/>
              <a:gd name="connsiteX4" fmla="*/ 2291650 w 7632000"/>
              <a:gd name="connsiteY4" fmla="*/ 6444218 h 6858000"/>
              <a:gd name="connsiteX5" fmla="*/ 2291650 w 7632000"/>
              <a:gd name="connsiteY5" fmla="*/ 2287588 h 6858000"/>
              <a:gd name="connsiteX6" fmla="*/ 7767 w 7632000"/>
              <a:gd name="connsiteY6" fmla="*/ 1588 h 6858000"/>
              <a:gd name="connsiteX7" fmla="*/ 0 w 7632000"/>
              <a:gd name="connsiteY7" fmla="*/ 1588 h 6858000"/>
              <a:gd name="connsiteX8" fmla="*/ 0 w 7632000"/>
              <a:gd name="connsiteY8" fmla="*/ 0 h 6858000"/>
              <a:gd name="connsiteX0" fmla="*/ 0 w 7270050"/>
              <a:gd name="connsiteY0" fmla="*/ 0 h 6858000"/>
              <a:gd name="connsiteX1" fmla="*/ 7270050 w 7270050"/>
              <a:gd name="connsiteY1" fmla="*/ 0 h 6858000"/>
              <a:gd name="connsiteX2" fmla="*/ 7241475 w 7270050"/>
              <a:gd name="connsiteY2" fmla="*/ 6853238 h 6858000"/>
              <a:gd name="connsiteX3" fmla="*/ 2291650 w 7270050"/>
              <a:gd name="connsiteY3" fmla="*/ 6858000 h 6858000"/>
              <a:gd name="connsiteX4" fmla="*/ 2291650 w 7270050"/>
              <a:gd name="connsiteY4" fmla="*/ 6444218 h 6858000"/>
              <a:gd name="connsiteX5" fmla="*/ 2291650 w 7270050"/>
              <a:gd name="connsiteY5" fmla="*/ 2287588 h 6858000"/>
              <a:gd name="connsiteX6" fmla="*/ 7767 w 7270050"/>
              <a:gd name="connsiteY6" fmla="*/ 1588 h 6858000"/>
              <a:gd name="connsiteX7" fmla="*/ 0 w 7270050"/>
              <a:gd name="connsiteY7" fmla="*/ 1588 h 6858000"/>
              <a:gd name="connsiteX8" fmla="*/ 0 w 7270050"/>
              <a:gd name="connsiteY8" fmla="*/ 0 h 6858000"/>
              <a:gd name="connsiteX0" fmla="*/ 0 w 7270050"/>
              <a:gd name="connsiteY0" fmla="*/ 0 h 6858001"/>
              <a:gd name="connsiteX1" fmla="*/ 7270050 w 7270050"/>
              <a:gd name="connsiteY1" fmla="*/ 0 h 6858001"/>
              <a:gd name="connsiteX2" fmla="*/ 7255763 w 7270050"/>
              <a:gd name="connsiteY2" fmla="*/ 6858001 h 6858001"/>
              <a:gd name="connsiteX3" fmla="*/ 2291650 w 7270050"/>
              <a:gd name="connsiteY3" fmla="*/ 6858000 h 6858001"/>
              <a:gd name="connsiteX4" fmla="*/ 2291650 w 7270050"/>
              <a:gd name="connsiteY4" fmla="*/ 6444218 h 6858001"/>
              <a:gd name="connsiteX5" fmla="*/ 2291650 w 7270050"/>
              <a:gd name="connsiteY5" fmla="*/ 2287588 h 6858001"/>
              <a:gd name="connsiteX6" fmla="*/ 7767 w 7270050"/>
              <a:gd name="connsiteY6" fmla="*/ 1588 h 6858001"/>
              <a:gd name="connsiteX7" fmla="*/ 0 w 7270050"/>
              <a:gd name="connsiteY7" fmla="*/ 1588 h 6858001"/>
              <a:gd name="connsiteX8" fmla="*/ 0 w 7270050"/>
              <a:gd name="connsiteY8" fmla="*/ 0 h 6858001"/>
              <a:gd name="connsiteX0" fmla="*/ 0 w 7270050"/>
              <a:gd name="connsiteY0" fmla="*/ 0 h 6858001"/>
              <a:gd name="connsiteX1" fmla="*/ 7270050 w 7270050"/>
              <a:gd name="connsiteY1" fmla="*/ 0 h 6858001"/>
              <a:gd name="connsiteX2" fmla="*/ 6931913 w 7270050"/>
              <a:gd name="connsiteY2" fmla="*/ 6858001 h 6858001"/>
              <a:gd name="connsiteX3" fmla="*/ 2291650 w 7270050"/>
              <a:gd name="connsiteY3" fmla="*/ 6858000 h 6858001"/>
              <a:gd name="connsiteX4" fmla="*/ 2291650 w 7270050"/>
              <a:gd name="connsiteY4" fmla="*/ 6444218 h 6858001"/>
              <a:gd name="connsiteX5" fmla="*/ 2291650 w 7270050"/>
              <a:gd name="connsiteY5" fmla="*/ 2287588 h 6858001"/>
              <a:gd name="connsiteX6" fmla="*/ 7767 w 7270050"/>
              <a:gd name="connsiteY6" fmla="*/ 1588 h 6858001"/>
              <a:gd name="connsiteX7" fmla="*/ 0 w 7270050"/>
              <a:gd name="connsiteY7" fmla="*/ 1588 h 6858001"/>
              <a:gd name="connsiteX8" fmla="*/ 0 w 7270050"/>
              <a:gd name="connsiteY8" fmla="*/ 0 h 6858001"/>
              <a:gd name="connsiteX0" fmla="*/ 0 w 7271425"/>
              <a:gd name="connsiteY0" fmla="*/ 0 h 6858000"/>
              <a:gd name="connsiteX1" fmla="*/ 7270050 w 7271425"/>
              <a:gd name="connsiteY1" fmla="*/ 0 h 6858000"/>
              <a:gd name="connsiteX2" fmla="*/ 7270051 w 7271425"/>
              <a:gd name="connsiteY2" fmla="*/ 6848476 h 6858000"/>
              <a:gd name="connsiteX3" fmla="*/ 2291650 w 7271425"/>
              <a:gd name="connsiteY3" fmla="*/ 6858000 h 6858000"/>
              <a:gd name="connsiteX4" fmla="*/ 2291650 w 7271425"/>
              <a:gd name="connsiteY4" fmla="*/ 6444218 h 6858000"/>
              <a:gd name="connsiteX5" fmla="*/ 2291650 w 7271425"/>
              <a:gd name="connsiteY5" fmla="*/ 2287588 h 6858000"/>
              <a:gd name="connsiteX6" fmla="*/ 7767 w 7271425"/>
              <a:gd name="connsiteY6" fmla="*/ 1588 h 6858000"/>
              <a:gd name="connsiteX7" fmla="*/ 0 w 7271425"/>
              <a:gd name="connsiteY7" fmla="*/ 1588 h 6858000"/>
              <a:gd name="connsiteX8" fmla="*/ 0 w 7271425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71425" h="6858000">
                <a:moveTo>
                  <a:pt x="0" y="0"/>
                </a:moveTo>
                <a:lnTo>
                  <a:pt x="7270050" y="0"/>
                </a:lnTo>
                <a:cubicBezTo>
                  <a:pt x="7265288" y="2286000"/>
                  <a:pt x="7274813" y="4562476"/>
                  <a:pt x="7270051" y="6848476"/>
                </a:cubicBezTo>
                <a:lnTo>
                  <a:pt x="2291650" y="6858000"/>
                </a:lnTo>
                <a:lnTo>
                  <a:pt x="2291650" y="6444218"/>
                </a:lnTo>
                <a:lnTo>
                  <a:pt x="2291650" y="2287588"/>
                </a:lnTo>
                <a:cubicBezTo>
                  <a:pt x="1030756" y="2287588"/>
                  <a:pt x="7767" y="1263651"/>
                  <a:pt x="7767" y="1588"/>
                </a:cubicBezTo>
                <a:lnTo>
                  <a:pt x="0" y="1588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55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55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6422202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-PHOTO-2_Title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4">
            <a:extLst>
              <a:ext uri="{FF2B5EF4-FFF2-40B4-BE49-F238E27FC236}">
                <a16:creationId xmlns:a16="http://schemas.microsoft.com/office/drawing/2014/main" id="{20EFA51F-38AE-4D7F-AF20-2BCABCCD61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06079" y="-2"/>
            <a:ext cx="6507275" cy="6863318"/>
          </a:xfrm>
          <a:custGeom>
            <a:avLst/>
            <a:gdLst>
              <a:gd name="connsiteX0" fmla="*/ 0 w 4597199"/>
              <a:gd name="connsiteY0" fmla="*/ 0 h 4593599"/>
              <a:gd name="connsiteX1" fmla="*/ 4597199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  <a:gd name="connsiteX0" fmla="*/ 0 w 4597199"/>
              <a:gd name="connsiteY0" fmla="*/ 0 h 4593599"/>
              <a:gd name="connsiteX1" fmla="*/ 4340812 w 4597199"/>
              <a:gd name="connsiteY1" fmla="*/ 0 h 4593599"/>
              <a:gd name="connsiteX2" fmla="*/ 4597199 w 4597199"/>
              <a:gd name="connsiteY2" fmla="*/ 4593599 h 4593599"/>
              <a:gd name="connsiteX3" fmla="*/ 761399 w 4597199"/>
              <a:gd name="connsiteY3" fmla="*/ 4593599 h 4593599"/>
              <a:gd name="connsiteX4" fmla="*/ 0 w 4597199"/>
              <a:gd name="connsiteY4" fmla="*/ 3833781 h 4593599"/>
              <a:gd name="connsiteX5" fmla="*/ 0 w 4597199"/>
              <a:gd name="connsiteY5" fmla="*/ 3828704 h 4593599"/>
              <a:gd name="connsiteX6" fmla="*/ 761400 w 4597199"/>
              <a:gd name="connsiteY6" fmla="*/ 3828704 h 4593599"/>
              <a:gd name="connsiteX7" fmla="*/ 0 w 4597199"/>
              <a:gd name="connsiteY7" fmla="*/ 3068885 h 4593599"/>
              <a:gd name="connsiteX8" fmla="*/ 0 w 4597199"/>
              <a:gd name="connsiteY8" fmla="*/ 3063809 h 4593599"/>
              <a:gd name="connsiteX9" fmla="*/ 761400 w 4597199"/>
              <a:gd name="connsiteY9" fmla="*/ 3063809 h 4593599"/>
              <a:gd name="connsiteX10" fmla="*/ 0 w 4597199"/>
              <a:gd name="connsiteY10" fmla="*/ 2301191 h 4593599"/>
              <a:gd name="connsiteX11" fmla="*/ 0 w 4597199"/>
              <a:gd name="connsiteY11" fmla="*/ 2296096 h 4593599"/>
              <a:gd name="connsiteX12" fmla="*/ 761400 w 4597199"/>
              <a:gd name="connsiteY12" fmla="*/ 2296096 h 4593599"/>
              <a:gd name="connsiteX13" fmla="*/ 0 w 4597199"/>
              <a:gd name="connsiteY13" fmla="*/ 1536277 h 4593599"/>
              <a:gd name="connsiteX14" fmla="*/ 0 w 4597199"/>
              <a:gd name="connsiteY14" fmla="*/ 1531200 h 4593599"/>
              <a:gd name="connsiteX15" fmla="*/ 761400 w 4597199"/>
              <a:gd name="connsiteY15" fmla="*/ 1531200 h 4593599"/>
              <a:gd name="connsiteX16" fmla="*/ 0 w 4597199"/>
              <a:gd name="connsiteY16" fmla="*/ 771381 h 4593599"/>
              <a:gd name="connsiteX17" fmla="*/ 0 w 4597199"/>
              <a:gd name="connsiteY17" fmla="*/ 766304 h 4593599"/>
              <a:gd name="connsiteX18" fmla="*/ 761400 w 4597199"/>
              <a:gd name="connsiteY18" fmla="*/ 766304 h 4593599"/>
              <a:gd name="connsiteX19" fmla="*/ 0 w 4597199"/>
              <a:gd name="connsiteY19" fmla="*/ 5086 h 4593599"/>
              <a:gd name="connsiteX20" fmla="*/ 0 w 4597199"/>
              <a:gd name="connsiteY20" fmla="*/ 0 h 4593599"/>
              <a:gd name="connsiteX0" fmla="*/ 0 w 4344374"/>
              <a:gd name="connsiteY0" fmla="*/ 0 h 4597160"/>
              <a:gd name="connsiteX1" fmla="*/ 4340812 w 4344374"/>
              <a:gd name="connsiteY1" fmla="*/ 0 h 4597160"/>
              <a:gd name="connsiteX2" fmla="*/ 4344374 w 4344374"/>
              <a:gd name="connsiteY2" fmla="*/ 4597160 h 4597160"/>
              <a:gd name="connsiteX3" fmla="*/ 761399 w 4344374"/>
              <a:gd name="connsiteY3" fmla="*/ 4593599 h 4597160"/>
              <a:gd name="connsiteX4" fmla="*/ 0 w 4344374"/>
              <a:gd name="connsiteY4" fmla="*/ 3833781 h 4597160"/>
              <a:gd name="connsiteX5" fmla="*/ 0 w 4344374"/>
              <a:gd name="connsiteY5" fmla="*/ 3828704 h 4597160"/>
              <a:gd name="connsiteX6" fmla="*/ 761400 w 4344374"/>
              <a:gd name="connsiteY6" fmla="*/ 3828704 h 4597160"/>
              <a:gd name="connsiteX7" fmla="*/ 0 w 4344374"/>
              <a:gd name="connsiteY7" fmla="*/ 3068885 h 4597160"/>
              <a:gd name="connsiteX8" fmla="*/ 0 w 4344374"/>
              <a:gd name="connsiteY8" fmla="*/ 3063809 h 4597160"/>
              <a:gd name="connsiteX9" fmla="*/ 761400 w 4344374"/>
              <a:gd name="connsiteY9" fmla="*/ 3063809 h 4597160"/>
              <a:gd name="connsiteX10" fmla="*/ 0 w 4344374"/>
              <a:gd name="connsiteY10" fmla="*/ 2301191 h 4597160"/>
              <a:gd name="connsiteX11" fmla="*/ 0 w 4344374"/>
              <a:gd name="connsiteY11" fmla="*/ 2296096 h 4597160"/>
              <a:gd name="connsiteX12" fmla="*/ 761400 w 4344374"/>
              <a:gd name="connsiteY12" fmla="*/ 2296096 h 4597160"/>
              <a:gd name="connsiteX13" fmla="*/ 0 w 4344374"/>
              <a:gd name="connsiteY13" fmla="*/ 1536277 h 4597160"/>
              <a:gd name="connsiteX14" fmla="*/ 0 w 4344374"/>
              <a:gd name="connsiteY14" fmla="*/ 1531200 h 4597160"/>
              <a:gd name="connsiteX15" fmla="*/ 761400 w 4344374"/>
              <a:gd name="connsiteY15" fmla="*/ 1531200 h 4597160"/>
              <a:gd name="connsiteX16" fmla="*/ 0 w 4344374"/>
              <a:gd name="connsiteY16" fmla="*/ 771381 h 4597160"/>
              <a:gd name="connsiteX17" fmla="*/ 0 w 4344374"/>
              <a:gd name="connsiteY17" fmla="*/ 766304 h 4597160"/>
              <a:gd name="connsiteX18" fmla="*/ 761400 w 4344374"/>
              <a:gd name="connsiteY18" fmla="*/ 766304 h 4597160"/>
              <a:gd name="connsiteX19" fmla="*/ 0 w 4344374"/>
              <a:gd name="connsiteY19" fmla="*/ 5086 h 4597160"/>
              <a:gd name="connsiteX20" fmla="*/ 0 w 4344374"/>
              <a:gd name="connsiteY20" fmla="*/ 0 h 4597160"/>
              <a:gd name="connsiteX0" fmla="*/ 0 w 4344374"/>
              <a:gd name="connsiteY0" fmla="*/ 0 h 4597160"/>
              <a:gd name="connsiteX1" fmla="*/ 4233984 w 4344374"/>
              <a:gd name="connsiteY1" fmla="*/ 0 h 4597160"/>
              <a:gd name="connsiteX2" fmla="*/ 4344374 w 4344374"/>
              <a:gd name="connsiteY2" fmla="*/ 4597160 h 4597160"/>
              <a:gd name="connsiteX3" fmla="*/ 761399 w 4344374"/>
              <a:gd name="connsiteY3" fmla="*/ 4593599 h 4597160"/>
              <a:gd name="connsiteX4" fmla="*/ 0 w 4344374"/>
              <a:gd name="connsiteY4" fmla="*/ 3833781 h 4597160"/>
              <a:gd name="connsiteX5" fmla="*/ 0 w 4344374"/>
              <a:gd name="connsiteY5" fmla="*/ 3828704 h 4597160"/>
              <a:gd name="connsiteX6" fmla="*/ 761400 w 4344374"/>
              <a:gd name="connsiteY6" fmla="*/ 3828704 h 4597160"/>
              <a:gd name="connsiteX7" fmla="*/ 0 w 4344374"/>
              <a:gd name="connsiteY7" fmla="*/ 3068885 h 4597160"/>
              <a:gd name="connsiteX8" fmla="*/ 0 w 4344374"/>
              <a:gd name="connsiteY8" fmla="*/ 3063809 h 4597160"/>
              <a:gd name="connsiteX9" fmla="*/ 761400 w 4344374"/>
              <a:gd name="connsiteY9" fmla="*/ 3063809 h 4597160"/>
              <a:gd name="connsiteX10" fmla="*/ 0 w 4344374"/>
              <a:gd name="connsiteY10" fmla="*/ 2301191 h 4597160"/>
              <a:gd name="connsiteX11" fmla="*/ 0 w 4344374"/>
              <a:gd name="connsiteY11" fmla="*/ 2296096 h 4597160"/>
              <a:gd name="connsiteX12" fmla="*/ 761400 w 4344374"/>
              <a:gd name="connsiteY12" fmla="*/ 2296096 h 4597160"/>
              <a:gd name="connsiteX13" fmla="*/ 0 w 4344374"/>
              <a:gd name="connsiteY13" fmla="*/ 1536277 h 4597160"/>
              <a:gd name="connsiteX14" fmla="*/ 0 w 4344374"/>
              <a:gd name="connsiteY14" fmla="*/ 1531200 h 4597160"/>
              <a:gd name="connsiteX15" fmla="*/ 761400 w 4344374"/>
              <a:gd name="connsiteY15" fmla="*/ 1531200 h 4597160"/>
              <a:gd name="connsiteX16" fmla="*/ 0 w 4344374"/>
              <a:gd name="connsiteY16" fmla="*/ 771381 h 4597160"/>
              <a:gd name="connsiteX17" fmla="*/ 0 w 4344374"/>
              <a:gd name="connsiteY17" fmla="*/ 766304 h 4597160"/>
              <a:gd name="connsiteX18" fmla="*/ 761400 w 4344374"/>
              <a:gd name="connsiteY18" fmla="*/ 766304 h 4597160"/>
              <a:gd name="connsiteX19" fmla="*/ 0 w 4344374"/>
              <a:gd name="connsiteY19" fmla="*/ 5086 h 4597160"/>
              <a:gd name="connsiteX20" fmla="*/ 0 w 4344374"/>
              <a:gd name="connsiteY20" fmla="*/ 0 h 4597160"/>
              <a:gd name="connsiteX0" fmla="*/ 0 w 4358677"/>
              <a:gd name="connsiteY0" fmla="*/ 0 h 4597160"/>
              <a:gd name="connsiteX1" fmla="*/ 4358617 w 4358677"/>
              <a:gd name="connsiteY1" fmla="*/ 0 h 4597160"/>
              <a:gd name="connsiteX2" fmla="*/ 4344374 w 4358677"/>
              <a:gd name="connsiteY2" fmla="*/ 4597160 h 4597160"/>
              <a:gd name="connsiteX3" fmla="*/ 761399 w 4358677"/>
              <a:gd name="connsiteY3" fmla="*/ 4593599 h 4597160"/>
              <a:gd name="connsiteX4" fmla="*/ 0 w 4358677"/>
              <a:gd name="connsiteY4" fmla="*/ 3833781 h 4597160"/>
              <a:gd name="connsiteX5" fmla="*/ 0 w 4358677"/>
              <a:gd name="connsiteY5" fmla="*/ 3828704 h 4597160"/>
              <a:gd name="connsiteX6" fmla="*/ 761400 w 4358677"/>
              <a:gd name="connsiteY6" fmla="*/ 3828704 h 4597160"/>
              <a:gd name="connsiteX7" fmla="*/ 0 w 4358677"/>
              <a:gd name="connsiteY7" fmla="*/ 3068885 h 4597160"/>
              <a:gd name="connsiteX8" fmla="*/ 0 w 4358677"/>
              <a:gd name="connsiteY8" fmla="*/ 3063809 h 4597160"/>
              <a:gd name="connsiteX9" fmla="*/ 761400 w 4358677"/>
              <a:gd name="connsiteY9" fmla="*/ 3063809 h 4597160"/>
              <a:gd name="connsiteX10" fmla="*/ 0 w 4358677"/>
              <a:gd name="connsiteY10" fmla="*/ 2301191 h 4597160"/>
              <a:gd name="connsiteX11" fmla="*/ 0 w 4358677"/>
              <a:gd name="connsiteY11" fmla="*/ 2296096 h 4597160"/>
              <a:gd name="connsiteX12" fmla="*/ 761400 w 4358677"/>
              <a:gd name="connsiteY12" fmla="*/ 2296096 h 4597160"/>
              <a:gd name="connsiteX13" fmla="*/ 0 w 4358677"/>
              <a:gd name="connsiteY13" fmla="*/ 1536277 h 4597160"/>
              <a:gd name="connsiteX14" fmla="*/ 0 w 4358677"/>
              <a:gd name="connsiteY14" fmla="*/ 1531200 h 4597160"/>
              <a:gd name="connsiteX15" fmla="*/ 761400 w 4358677"/>
              <a:gd name="connsiteY15" fmla="*/ 1531200 h 4597160"/>
              <a:gd name="connsiteX16" fmla="*/ 0 w 4358677"/>
              <a:gd name="connsiteY16" fmla="*/ 771381 h 4597160"/>
              <a:gd name="connsiteX17" fmla="*/ 0 w 4358677"/>
              <a:gd name="connsiteY17" fmla="*/ 766304 h 4597160"/>
              <a:gd name="connsiteX18" fmla="*/ 761400 w 4358677"/>
              <a:gd name="connsiteY18" fmla="*/ 766304 h 4597160"/>
              <a:gd name="connsiteX19" fmla="*/ 0 w 4358677"/>
              <a:gd name="connsiteY19" fmla="*/ 5086 h 4597160"/>
              <a:gd name="connsiteX20" fmla="*/ 0 w 4358677"/>
              <a:gd name="connsiteY20" fmla="*/ 0 h 4597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358677" h="4597160">
                <a:moveTo>
                  <a:pt x="0" y="0"/>
                </a:moveTo>
                <a:lnTo>
                  <a:pt x="4358617" y="0"/>
                </a:lnTo>
                <a:cubicBezTo>
                  <a:pt x="4359804" y="1532387"/>
                  <a:pt x="4343187" y="3064773"/>
                  <a:pt x="4344374" y="4597160"/>
                </a:cubicBezTo>
                <a:lnTo>
                  <a:pt x="761399" y="4593599"/>
                </a:lnTo>
                <a:lnTo>
                  <a:pt x="0" y="3833781"/>
                </a:lnTo>
                <a:lnTo>
                  <a:pt x="0" y="3828704"/>
                </a:lnTo>
                <a:lnTo>
                  <a:pt x="761400" y="3828704"/>
                </a:lnTo>
                <a:lnTo>
                  <a:pt x="0" y="3068885"/>
                </a:lnTo>
                <a:lnTo>
                  <a:pt x="0" y="3063809"/>
                </a:lnTo>
                <a:lnTo>
                  <a:pt x="761400" y="3063809"/>
                </a:lnTo>
                <a:lnTo>
                  <a:pt x="0" y="2301191"/>
                </a:lnTo>
                <a:lnTo>
                  <a:pt x="0" y="2296096"/>
                </a:lnTo>
                <a:lnTo>
                  <a:pt x="761400" y="2296096"/>
                </a:lnTo>
                <a:lnTo>
                  <a:pt x="0" y="1536277"/>
                </a:lnTo>
                <a:lnTo>
                  <a:pt x="0" y="1531200"/>
                </a:lnTo>
                <a:lnTo>
                  <a:pt x="761400" y="1531200"/>
                </a:lnTo>
                <a:lnTo>
                  <a:pt x="0" y="771381"/>
                </a:lnTo>
                <a:lnTo>
                  <a:pt x="0" y="766304"/>
                </a:lnTo>
                <a:lnTo>
                  <a:pt x="761400" y="766304"/>
                </a:lnTo>
                <a:lnTo>
                  <a:pt x="0" y="5086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325079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325079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4558703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-PHOTO-3_Title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6DB0D1E-5482-40C9-8316-5D1A8160F2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77038" y="0"/>
            <a:ext cx="5714962" cy="6858000"/>
          </a:xfrm>
          <a:custGeom>
            <a:avLst/>
            <a:gdLst>
              <a:gd name="connsiteX0" fmla="*/ 0 w 6091200"/>
              <a:gd name="connsiteY0" fmla="*/ 0 h 6858000"/>
              <a:gd name="connsiteX1" fmla="*/ 6091200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  <a:gd name="connsiteX0" fmla="*/ 0 w 6091200"/>
              <a:gd name="connsiteY0" fmla="*/ 0 h 6858000"/>
              <a:gd name="connsiteX1" fmla="*/ 5714962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  <a:gd name="connsiteX6" fmla="*/ 0 w 6091200"/>
              <a:gd name="connsiteY6" fmla="*/ 0 h 6858000"/>
              <a:gd name="connsiteX0" fmla="*/ 0 w 5714962"/>
              <a:gd name="connsiteY0" fmla="*/ 0 h 6858000"/>
              <a:gd name="connsiteX1" fmla="*/ 5714962 w 5714962"/>
              <a:gd name="connsiteY1" fmla="*/ 0 h 6858000"/>
              <a:gd name="connsiteX2" fmla="*/ 5705438 w 5714962"/>
              <a:gd name="connsiteY2" fmla="*/ 6858000 h 6858000"/>
              <a:gd name="connsiteX3" fmla="*/ 2286000 w 5714962"/>
              <a:gd name="connsiteY3" fmla="*/ 6858000 h 6858000"/>
              <a:gd name="connsiteX4" fmla="*/ 2286000 w 5714962"/>
              <a:gd name="connsiteY4" fmla="*/ 3429000 h 6858000"/>
              <a:gd name="connsiteX5" fmla="*/ 0 w 5714962"/>
              <a:gd name="connsiteY5" fmla="*/ 3429000 h 6858000"/>
              <a:gd name="connsiteX6" fmla="*/ 0 w 5714962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14962" h="6858000">
                <a:moveTo>
                  <a:pt x="0" y="0"/>
                </a:moveTo>
                <a:lnTo>
                  <a:pt x="5714962" y="0"/>
                </a:lnTo>
                <a:cubicBezTo>
                  <a:pt x="5711787" y="2286000"/>
                  <a:pt x="5708613" y="4572000"/>
                  <a:pt x="5705438" y="6858000"/>
                </a:cubicBezTo>
                <a:lnTo>
                  <a:pt x="2286000" y="6858000"/>
                </a:lnTo>
                <a:lnTo>
                  <a:pt x="2286000" y="3429000"/>
                </a:lnTo>
                <a:lnTo>
                  <a:pt x="0" y="3429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55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55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F28916-E41E-452F-9B34-7E89E62D1E1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6425542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-PHOTO-4_Title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4EA61C3-6457-497D-B7AF-E9C3300860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19057" y="0"/>
            <a:ext cx="6849789" cy="6858000"/>
          </a:xfrm>
          <a:custGeom>
            <a:avLst/>
            <a:gdLst>
              <a:gd name="connsiteX0" fmla="*/ 3424894 w 6849789"/>
              <a:gd name="connsiteY0" fmla="*/ 0 h 6858000"/>
              <a:gd name="connsiteX1" fmla="*/ 6849789 w 6849789"/>
              <a:gd name="connsiteY1" fmla="*/ 3429000 h 6858000"/>
              <a:gd name="connsiteX2" fmla="*/ 3424894 w 6849789"/>
              <a:gd name="connsiteY2" fmla="*/ 6858000 h 6858000"/>
              <a:gd name="connsiteX3" fmla="*/ 4456 w 6849789"/>
              <a:gd name="connsiteY3" fmla="*/ 3605456 h 6858000"/>
              <a:gd name="connsiteX4" fmla="*/ 0 w 6849789"/>
              <a:gd name="connsiteY4" fmla="*/ 3429041 h 6858000"/>
              <a:gd name="connsiteX5" fmla="*/ 0 w 6849789"/>
              <a:gd name="connsiteY5" fmla="*/ 3428960 h 6858000"/>
              <a:gd name="connsiteX6" fmla="*/ 4456 w 6849789"/>
              <a:gd name="connsiteY6" fmla="*/ 3252544 h 6858000"/>
              <a:gd name="connsiteX7" fmla="*/ 3424894 w 6849789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49789" h="6858000">
                <a:moveTo>
                  <a:pt x="3424894" y="0"/>
                </a:moveTo>
                <a:cubicBezTo>
                  <a:pt x="5316411" y="0"/>
                  <a:pt x="6849789" y="1535216"/>
                  <a:pt x="6849789" y="3429000"/>
                </a:cubicBezTo>
                <a:cubicBezTo>
                  <a:pt x="6849789" y="5322784"/>
                  <a:pt x="5316411" y="6858000"/>
                  <a:pt x="3424894" y="6858000"/>
                </a:cubicBezTo>
                <a:cubicBezTo>
                  <a:pt x="1592487" y="6858000"/>
                  <a:pt x="96185" y="5417236"/>
                  <a:pt x="4456" y="3605456"/>
                </a:cubicBezTo>
                <a:lnTo>
                  <a:pt x="0" y="3429041"/>
                </a:lnTo>
                <a:lnTo>
                  <a:pt x="0" y="3428960"/>
                </a:lnTo>
                <a:lnTo>
                  <a:pt x="4456" y="3252544"/>
                </a:lnTo>
                <a:cubicBezTo>
                  <a:pt x="96185" y="1440764"/>
                  <a:pt x="1592487" y="0"/>
                  <a:pt x="3424894" y="0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4238057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4238057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C87EBB0-E191-4AB0-8198-01AF97E851A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810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739127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-PHOTO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120670A-89D4-46A1-B8D2-5ADD279973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2197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2197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EE11BD8-6580-41DD-940E-B1D1B8B2E21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97A30E8-35A3-4CE7-93BA-293D648C86F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9738BE3-1506-4C98-A8EE-0BB4912D32C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18519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WHITE_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6365775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-PHOTO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CB619C81-35D4-47E6-B206-D3D7C3B0A5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221224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221224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74F4B239-3E08-43E7-8D12-AA3A386F55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2EDF6F5-2F89-477C-B965-23EC3ACBAE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A6B32D2-D82B-499E-8683-3366BDE2892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295940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-PHOTO-2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2630D1E4-CE48-4F21-B821-CEF6990C7C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221224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221224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38183EC-101D-4BA9-B326-D0AA4DB7439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3998E14-1058-43E7-8BD9-7C5C07E00B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983E173-BBBE-4869-98CA-E4C4934E9B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965794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-PHOTO-2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DF1A323B-6E63-466D-BA12-76A5D27148E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221224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221224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8877799-5BE2-4BEB-8D62-4346F454842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8EFA57A-9CCD-40CD-B5B2-8CEC13FFBF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7A8C5AF-CF06-4298-8D3D-4664B9CBEB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42672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C50A0BB8-4E93-4D1B-AE73-F0227C2616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2BF703B-5A7F-407E-953A-277D8E4B706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7069364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(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C50A0BB8-4E93-4D1B-AE73-F0227C2616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2BF703B-5A7F-407E-953A-277D8E4B706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7992125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199"/>
            <a:ext cx="11412000" cy="5392801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C50A0BB8-4E93-4D1B-AE73-F0227C2616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2BF703B-5A7F-407E-953A-277D8E4B706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0264436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itle (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199"/>
            <a:ext cx="11412000" cy="5392801"/>
          </a:xfrm>
        </p:spPr>
        <p:txBody>
          <a:bodyPr anchor="ctr" anchorCtr="1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C50A0BB8-4E93-4D1B-AE73-F0227C2616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2BF703B-5A7F-407E-953A-277D8E4B706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6996411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Box + Pic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3" y="331200"/>
            <a:ext cx="7315200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ABFFE6FA-CCB2-E944-AE78-BE364F70124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2"/>
            </a:solidFill>
          </a:ln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here to add a picture</a:t>
            </a:r>
            <a:endParaRPr lang="en-GB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4E007AC-65A3-41DE-8ED0-27368A5F8CB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FA24BE5-8704-4B82-921D-74C09614E1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E2F38A40-6A01-4E94-885A-6EEC5DDBBBC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7105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-third titl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4081801" cy="6858001"/>
          </a:xfrm>
          <a:solidFill>
            <a:schemeClr val="accent1"/>
          </a:solidFill>
        </p:spPr>
        <p:txBody>
          <a:bodyPr lIns="457200" tIns="457200" rIns="457200" bIns="45720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49C5923-32E3-4A39-9AF5-7C780E8B55D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C3070A23-E87A-493C-8A79-97189D44D01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11273" y="331201"/>
            <a:ext cx="7388352" cy="5392800"/>
          </a:xfrm>
          <a:prstGeom prst="rect">
            <a:avLst/>
          </a:prstGeom>
        </p:spPr>
        <p:txBody>
          <a:bodyPr/>
          <a:lstStyle>
            <a:lvl1pPr algn="l">
              <a:defRPr>
                <a:latin typeface="+mn-lt"/>
              </a:defRPr>
            </a:lvl1pPr>
            <a:lvl2pPr algn="l">
              <a:defRPr>
                <a:latin typeface="+mn-lt"/>
              </a:defRPr>
            </a:lvl2pPr>
            <a:lvl3pPr algn="l">
              <a:defRPr>
                <a:latin typeface="+mn-lt"/>
              </a:defRPr>
            </a:lvl3pPr>
            <a:lvl4pPr algn="l">
              <a:defRPr>
                <a:latin typeface="+mn-lt"/>
              </a:defRPr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B9F8C935-C20F-41C8-B1BA-33169C944F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11273" y="6285600"/>
            <a:ext cx="4572000" cy="288000"/>
          </a:xfrm>
        </p:spPr>
        <p:txBody>
          <a:bodyPr/>
          <a:lstStyle/>
          <a:p>
            <a:r>
              <a:rPr lang="en-US"/>
              <a:t>IATA Consulting Research for SafeFlight Inc.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28210796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-third 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4081801" cy="6858001"/>
          </a:xfrm>
          <a:noFill/>
        </p:spPr>
        <p:txBody>
          <a:bodyPr lIns="457200" tIns="457200" rIns="457200" bIns="457200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49C5923-32E3-4A39-9AF5-7C780E8B55D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C3070A23-E87A-493C-8A79-97189D44D01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11273" y="331201"/>
            <a:ext cx="7388352" cy="5392800"/>
          </a:xfrm>
          <a:prstGeom prst="rect">
            <a:avLst/>
          </a:prstGeom>
        </p:spPr>
        <p:txBody>
          <a:bodyPr/>
          <a:lstStyle>
            <a:lvl1pPr algn="l">
              <a:defRPr>
                <a:latin typeface="+mn-lt"/>
              </a:defRPr>
            </a:lvl1pPr>
            <a:lvl2pPr algn="l">
              <a:defRPr>
                <a:latin typeface="+mn-lt"/>
              </a:defRPr>
            </a:lvl2pPr>
            <a:lvl3pPr algn="l">
              <a:defRPr>
                <a:latin typeface="+mn-lt"/>
              </a:defRPr>
            </a:lvl3pPr>
            <a:lvl4pPr algn="l">
              <a:defRPr>
                <a:latin typeface="+mn-lt"/>
              </a:defRPr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B9F8C935-C20F-41C8-B1BA-33169C944F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11273" y="6285600"/>
            <a:ext cx="4572000" cy="288000"/>
          </a:xfrm>
        </p:spPr>
        <p:txBody>
          <a:bodyPr/>
          <a:lstStyle/>
          <a:p>
            <a:r>
              <a:rPr lang="en-US"/>
              <a:t>IATA Consulting Research for SafeFlight Inc. | Confidentia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A77E2AB-7355-4A51-BD8E-D15A9B173902}"/>
              </a:ext>
            </a:extLst>
          </p:cNvPr>
          <p:cNvCxnSpPr/>
          <p:nvPr userDrawn="1"/>
        </p:nvCxnSpPr>
        <p:spPr>
          <a:xfrm>
            <a:off x="4081801" y="-1"/>
            <a:ext cx="0" cy="6858001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909692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WHIT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2557998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-third pic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5EDCB72E-43A2-4F4A-86C6-4B8630C0FA5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4078224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/>
            </a:lvl1pPr>
          </a:lstStyle>
          <a:p>
            <a:r>
              <a:rPr lang="en-US"/>
              <a:t>Click here to add a ligh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6168E-9C0D-4DD0-9C4B-353E78E633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1273" y="331200"/>
            <a:ext cx="7388352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0868DF-BCD2-4CD1-9111-05EFEE7D74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A0FA2587-D0E4-4305-BA13-95185F7C5B8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FFBBFE60-BFF4-49D7-845C-43DCB0C69EE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411273" y="1476000"/>
            <a:ext cx="7388352" cy="424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79CA13E-B50B-428B-A927-5B04E8062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11273" y="6285600"/>
            <a:ext cx="4572000" cy="288000"/>
          </a:xfrm>
        </p:spPr>
        <p:txBody>
          <a:bodyPr/>
          <a:lstStyle/>
          <a:p>
            <a:r>
              <a:rPr lang="en-US"/>
              <a:t>IATA Consulting Research for SafeFlight Inc.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8788846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-third pic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5EDCB72E-43A2-4F4A-86C6-4B8630C0FA5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4078224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/>
            </a:lvl1pPr>
          </a:lstStyle>
          <a:p>
            <a:r>
              <a:rPr lang="en-US"/>
              <a:t>Click here to add a dark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6168E-9C0D-4DD0-9C4B-353E78E633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11273" y="331200"/>
            <a:ext cx="7388352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0868DF-BCD2-4CD1-9111-05EFEE7D74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A0FA2587-D0E4-4305-BA13-95185F7C5B8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FFBBFE60-BFF4-49D7-845C-43DCB0C69EE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411273" y="1476000"/>
            <a:ext cx="7388352" cy="424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D282BAB-6696-4603-9BF9-0CE068AF3A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11273" y="6285600"/>
            <a:ext cx="4572000" cy="288000"/>
          </a:xfrm>
        </p:spPr>
        <p:txBody>
          <a:bodyPr/>
          <a:lstStyle/>
          <a:p>
            <a:r>
              <a:rPr lang="en-US"/>
              <a:t>IATA Consulting Research for SafeFlight Inc.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69338987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-third titl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05448" y="0"/>
            <a:ext cx="4086551" cy="6858000"/>
          </a:xfrm>
          <a:solidFill>
            <a:schemeClr val="accent1"/>
          </a:solidFill>
        </p:spPr>
        <p:txBody>
          <a:bodyPr lIns="457200" tIns="457200" rIns="457200" bIns="45720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E909DFB-C266-42A8-A710-A07341868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4D9B4510-EB9C-4944-86F0-CF32425E8FC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331200"/>
            <a:ext cx="7388352" cy="53928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26">
            <a:extLst>
              <a:ext uri="{FF2B5EF4-FFF2-40B4-BE49-F238E27FC236}">
                <a16:creationId xmlns:a16="http://schemas.microsoft.com/office/drawing/2014/main" id="{FA6C217E-6CA4-4E01-8ADF-A9EF52DD3AF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914213" y="5914577"/>
            <a:ext cx="896112" cy="5669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36797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-third 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05448" y="0"/>
            <a:ext cx="4086551" cy="6858000"/>
          </a:xfrm>
          <a:noFill/>
        </p:spPr>
        <p:txBody>
          <a:bodyPr lIns="457200" tIns="457200" rIns="457200" bIns="457200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E909DFB-C266-42A8-A710-A073418687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4D9B4510-EB9C-4944-86F0-CF32425E8FC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331200"/>
            <a:ext cx="7388352" cy="53928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Picture Placeholder 26">
            <a:extLst>
              <a:ext uri="{FF2B5EF4-FFF2-40B4-BE49-F238E27FC236}">
                <a16:creationId xmlns:a16="http://schemas.microsoft.com/office/drawing/2014/main" id="{FA6C217E-6CA4-4E01-8ADF-A9EF52DD3AF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914213" y="5914577"/>
            <a:ext cx="896112" cy="5669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F4E0ED8-3060-4A90-BA65-75888C719FB9}"/>
              </a:ext>
            </a:extLst>
          </p:cNvPr>
          <p:cNvCxnSpPr/>
          <p:nvPr userDrawn="1"/>
        </p:nvCxnSpPr>
        <p:spPr>
          <a:xfrm>
            <a:off x="8105448" y="0"/>
            <a:ext cx="0" cy="6858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6854858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-third pic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C3728D3-9058-4A97-BFF1-A4C8E334555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497824" y="0"/>
            <a:ext cx="3694176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/>
            </a:lvl1pPr>
          </a:lstStyle>
          <a:p>
            <a:r>
              <a:rPr lang="en-US"/>
              <a:t>Click here to add a ligh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6168E-9C0D-4DD0-9C4B-353E78E633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7388352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0868DF-BCD2-4CD1-9111-05EFEE7D74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FCEC57-64AB-45AA-AA6C-2C2A425C1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A0FA2587-D0E4-4305-BA13-95185F7C5B8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5C4C2EFD-DDDA-4BBB-A1E4-C7BE7D066DA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7388352" cy="424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375285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-third pic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C3728D3-9058-4A97-BFF1-A4C8E334555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497824" y="0"/>
            <a:ext cx="3694176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/>
            </a:lvl1pPr>
          </a:lstStyle>
          <a:p>
            <a:r>
              <a:rPr lang="en-US"/>
              <a:t>Click here to add a dark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6168E-9C0D-4DD0-9C4B-353E78E633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7388352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0868DF-BCD2-4CD1-9111-05EFEE7D74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FCEC57-64AB-45AA-AA6C-2C2A425C1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5C4C2EFD-DDDA-4BBB-A1E4-C7BE7D066DA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7388352" cy="424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Picture Placeholder 26">
            <a:extLst>
              <a:ext uri="{FF2B5EF4-FFF2-40B4-BE49-F238E27FC236}">
                <a16:creationId xmlns:a16="http://schemas.microsoft.com/office/drawing/2014/main" id="{0CD3C3C3-222D-408A-9A45-F31192BF44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914213" y="5914577"/>
            <a:ext cx="896112" cy="5669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745106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-half titl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86168E-9C0D-4DD0-9C4B-353E78E633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5936375" cy="6858000"/>
          </a:xfrm>
          <a:solidFill>
            <a:schemeClr val="accent1"/>
          </a:solidFill>
        </p:spPr>
        <p:txBody>
          <a:bodyPr lIns="457200" tIns="457200" rIns="457200" bIns="45720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0868DF-BCD2-4CD1-9111-05EFEE7D74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FCEC57-64AB-45AA-AA6C-2C2A425C1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FFBBFE60-BFF4-49D7-845C-43DCB0C69EE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5625" y="331200"/>
            <a:ext cx="5544000" cy="53928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610228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-half 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86168E-9C0D-4DD0-9C4B-353E78E633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5936375" cy="6858000"/>
          </a:xfrm>
          <a:noFill/>
        </p:spPr>
        <p:txBody>
          <a:bodyPr lIns="457200" tIns="457200" rIns="457200" bIns="457200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0868DF-BCD2-4CD1-9111-05EFEE7D74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FCEC57-64AB-45AA-AA6C-2C2A425C1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A0FA2587-D0E4-4305-BA13-95185F7C5B8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FFBBFE60-BFF4-49D7-845C-43DCB0C69EE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5625" y="331200"/>
            <a:ext cx="5544000" cy="53928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0563048-832C-4453-B7A8-624B582843AE}"/>
              </a:ext>
            </a:extLst>
          </p:cNvPr>
          <p:cNvCxnSpPr/>
          <p:nvPr userDrawn="1"/>
        </p:nvCxnSpPr>
        <p:spPr>
          <a:xfrm>
            <a:off x="5936375" y="0"/>
            <a:ext cx="0" cy="68580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1638250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left pic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5EDCB72E-43A2-4F4A-86C6-4B8630C0FA5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5931623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/>
            </a:lvl1pPr>
          </a:lstStyle>
          <a:p>
            <a:r>
              <a:rPr lang="en-US"/>
              <a:t>Click here to add a ligh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6168E-9C0D-4DD0-9C4B-353E78E633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5625" y="331200"/>
            <a:ext cx="554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0868DF-BCD2-4CD1-9111-05EFEE7D74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FCEC57-64AB-45AA-AA6C-2C2A425C1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A0FA2587-D0E4-4305-BA13-95185F7C5B8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FFBBFE60-BFF4-49D7-845C-43DCB0C69EE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5625" y="1476000"/>
            <a:ext cx="5544000" cy="424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5357332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left pic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5EDCB72E-43A2-4F4A-86C6-4B8630C0FA5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5931624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/>
            </a:lvl1pPr>
          </a:lstStyle>
          <a:p>
            <a:r>
              <a:rPr lang="en-US"/>
              <a:t>Click here to add a dark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6168E-9C0D-4DD0-9C4B-353E78E633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5625" y="331200"/>
            <a:ext cx="554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0868DF-BCD2-4CD1-9111-05EFEE7D74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FCEC57-64AB-45AA-AA6C-2C2A425C1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A0FA2587-D0E4-4305-BA13-95185F7C5B8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Content Placeholder 7">
            <a:extLst>
              <a:ext uri="{FF2B5EF4-FFF2-40B4-BE49-F238E27FC236}">
                <a16:creationId xmlns:a16="http://schemas.microsoft.com/office/drawing/2014/main" id="{FFBBFE60-BFF4-49D7-845C-43DCB0C69EE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5625" y="1476000"/>
            <a:ext cx="5544000" cy="424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705971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Infographic+Tex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>
            <a:extLst>
              <a:ext uri="{FF2B5EF4-FFF2-40B4-BE49-F238E27FC236}">
                <a16:creationId xmlns:a16="http://schemas.microsoft.com/office/drawing/2014/main" id="{A7465508-B728-4E30-BD7A-365E47525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5251" y="979364"/>
            <a:ext cx="4061737" cy="609397"/>
          </a:xfrm>
        </p:spPr>
        <p:txBody>
          <a:bodyPr/>
          <a:lstStyle>
            <a:lvl1pPr>
              <a:defRPr sz="384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4B0D480A-BB95-4292-9A5D-3AB93D1711F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715926" y="2328865"/>
            <a:ext cx="4061737" cy="35386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B3230E92-8E74-4F7F-AA07-FB45DDDBFB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441447" y="979884"/>
            <a:ext cx="2441449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ECEAD2B-425C-44E5-B592-0B09E9F420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80687"/>
            <a:ext cx="2441449" cy="1216152"/>
          </a:xfrm>
          <a:solidFill>
            <a:schemeClr val="accent1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704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3E982D24-E43A-465C-A6EC-1B2673B5E9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175846"/>
            <a:ext cx="2441449" cy="1245485"/>
          </a:xfrm>
          <a:solidFill>
            <a:schemeClr val="accent1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56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87841388-2F1F-4301-9336-EDF501EB36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3751" y="980687"/>
            <a:ext cx="2441449" cy="1216152"/>
          </a:xfrm>
          <a:solidFill>
            <a:schemeClr val="bg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704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4ACC47D9-56A5-461D-A467-D22DB6798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73751" y="2175846"/>
            <a:ext cx="2441449" cy="1245485"/>
          </a:xfrm>
          <a:solidFill>
            <a:schemeClr val="bg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56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940485CD-E642-4C78-BA9D-13410EA4B5F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19857"/>
            <a:ext cx="2441449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225F0C27-11A6-4545-9064-7B5FF41BE60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438591" y="3422135"/>
            <a:ext cx="2441449" cy="1216152"/>
          </a:xfrm>
          <a:solidFill>
            <a:schemeClr val="accent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704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8E24B1A2-83A6-4358-8CD4-0ADA79FA751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38591" y="4622051"/>
            <a:ext cx="2441449" cy="1234440"/>
          </a:xfrm>
          <a:solidFill>
            <a:schemeClr val="accent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56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EC5BC8C6-D017-4A79-AFC8-620DFE283A1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869561" y="3419857"/>
            <a:ext cx="2441449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24020023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-half titl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86168E-9C0D-4DD0-9C4B-353E78E633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5624" y="0"/>
            <a:ext cx="5936375" cy="6858000"/>
          </a:xfrm>
          <a:solidFill>
            <a:schemeClr val="accent1"/>
          </a:solidFill>
        </p:spPr>
        <p:txBody>
          <a:bodyPr lIns="457200" tIns="457200" rIns="457200" bIns="45720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0868DF-BCD2-4CD1-9111-05EFEE7D74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FCEC57-64AB-45AA-AA6C-2C2A425C1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5C4C2EFD-DDDA-4BBB-A1E4-C7BE7D066DA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331200"/>
            <a:ext cx="5544000" cy="53928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Picture Placeholder 26">
            <a:extLst>
              <a:ext uri="{FF2B5EF4-FFF2-40B4-BE49-F238E27FC236}">
                <a16:creationId xmlns:a16="http://schemas.microsoft.com/office/drawing/2014/main" id="{D9644CC7-A80F-4240-8B84-4E53F216F3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914213" y="5914577"/>
            <a:ext cx="896112" cy="5669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210658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-half titl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86168E-9C0D-4DD0-9C4B-353E78E633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5624" y="0"/>
            <a:ext cx="5936375" cy="6858000"/>
          </a:xfrm>
          <a:noFill/>
        </p:spPr>
        <p:txBody>
          <a:bodyPr lIns="457200" tIns="457200" rIns="457200" bIns="457200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0868DF-BCD2-4CD1-9111-05EFEE7D74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FCEC57-64AB-45AA-AA6C-2C2A425C1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5C4C2EFD-DDDA-4BBB-A1E4-C7BE7D066DA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331200"/>
            <a:ext cx="5544000" cy="53928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Picture Placeholder 26">
            <a:extLst>
              <a:ext uri="{FF2B5EF4-FFF2-40B4-BE49-F238E27FC236}">
                <a16:creationId xmlns:a16="http://schemas.microsoft.com/office/drawing/2014/main" id="{D9644CC7-A80F-4240-8B84-4E53F216F3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914213" y="5914577"/>
            <a:ext cx="896112" cy="566928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F97DCF-5549-4166-98E8-B3F36A6C0467}"/>
              </a:ext>
            </a:extLst>
          </p:cNvPr>
          <p:cNvCxnSpPr/>
          <p:nvPr userDrawn="1"/>
        </p:nvCxnSpPr>
        <p:spPr>
          <a:xfrm>
            <a:off x="6255624" y="0"/>
            <a:ext cx="0" cy="685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9031175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right pic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C3728D3-9058-4A97-BFF1-A4C8E334555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55624" y="0"/>
            <a:ext cx="5936375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/>
            </a:lvl1pPr>
          </a:lstStyle>
          <a:p>
            <a:r>
              <a:rPr lang="en-US"/>
              <a:t>Click here to add a ligh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6168E-9C0D-4DD0-9C4B-353E78E633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1264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0868DF-BCD2-4CD1-9111-05EFEE7D74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FCEC57-64AB-45AA-AA6C-2C2A425C1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A0FA2587-D0E4-4305-BA13-95185F7C5B8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5C4C2EFD-DDDA-4BBB-A1E4-C7BE7D066DA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827687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right pic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C3728D3-9058-4A97-BFF1-A4C8E334555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55624" y="0"/>
            <a:ext cx="5936375" cy="6858000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ctr">
              <a:defRPr sz="2000"/>
            </a:lvl1pPr>
          </a:lstStyle>
          <a:p>
            <a:r>
              <a:rPr lang="en-US"/>
              <a:t>Click here to add a dark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6168E-9C0D-4DD0-9C4B-353E78E633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1264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00868DF-BCD2-4CD1-9111-05EFEE7D74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FCEC57-64AB-45AA-AA6C-2C2A425C1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5C4C2EFD-DDDA-4BBB-A1E4-C7BE7D066DA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Picture Placeholder 26">
            <a:extLst>
              <a:ext uri="{FF2B5EF4-FFF2-40B4-BE49-F238E27FC236}">
                <a16:creationId xmlns:a16="http://schemas.microsoft.com/office/drawing/2014/main" id="{E7DF87F7-846C-4EF2-AA70-31F5BBF8085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914213" y="5914577"/>
            <a:ext cx="896112" cy="5669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952342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49C5923-32E3-4A39-9AF5-7C780E8B55D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A05CD1CE-51A2-4D66-B11E-EDDA04C3519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7625" y="1476000"/>
            <a:ext cx="3584448" cy="424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/>
            </a:lvl5pPr>
          </a:lstStyle>
          <a:p>
            <a:pPr lvl="4"/>
            <a:r>
              <a:rPr lang="en-US"/>
              <a:t>Overview</a:t>
            </a:r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757D36AC-7C0D-4933-BD64-31CBB8E3348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01401" y="1476000"/>
            <a:ext cx="3584448" cy="424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/>
            </a:lvl5pPr>
          </a:lstStyle>
          <a:p>
            <a:pPr lvl="4"/>
            <a:r>
              <a:rPr lang="en-US"/>
              <a:t>Education and qualifications</a:t>
            </a:r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5FED1F81-646D-47EE-8252-84B9CA3CDB9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215177" y="1476000"/>
            <a:ext cx="3584448" cy="424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4"/>
            <a:r>
              <a:rPr lang="en-US"/>
              <a:t>Select project experienc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0999BC89-2E3F-4873-92B6-50268547AF0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87625" y="896540"/>
            <a:ext cx="456653" cy="457200"/>
          </a:xfrm>
          <a:custGeom>
            <a:avLst/>
            <a:gdLst>
              <a:gd name="T0" fmla="*/ 1440 w 2880"/>
              <a:gd name="T1" fmla="*/ 0 h 2880"/>
              <a:gd name="T2" fmla="*/ 0 w 2880"/>
              <a:gd name="T3" fmla="*/ 1440 h 2880"/>
              <a:gd name="T4" fmla="*/ 1440 w 2880"/>
              <a:gd name="T5" fmla="*/ 2880 h 2880"/>
              <a:gd name="T6" fmla="*/ 2880 w 2880"/>
              <a:gd name="T7" fmla="*/ 1440 h 2880"/>
              <a:gd name="T8" fmla="*/ 1440 w 2880"/>
              <a:gd name="T9" fmla="*/ 0 h 2880"/>
              <a:gd name="T10" fmla="*/ 1440 w 2880"/>
              <a:gd name="T11" fmla="*/ 2400 h 2880"/>
              <a:gd name="T12" fmla="*/ 480 w 2880"/>
              <a:gd name="T13" fmla="*/ 1440 h 2880"/>
              <a:gd name="T14" fmla="*/ 1440 w 2880"/>
              <a:gd name="T15" fmla="*/ 480 h 2880"/>
              <a:gd name="T16" fmla="*/ 2400 w 2880"/>
              <a:gd name="T17" fmla="*/ 1440 h 2880"/>
              <a:gd name="T18" fmla="*/ 1440 w 2880"/>
              <a:gd name="T19" fmla="*/ 2400 h 2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80" h="2880">
                <a:moveTo>
                  <a:pt x="1440" y="0"/>
                </a:moveTo>
                <a:cubicBezTo>
                  <a:pt x="645" y="0"/>
                  <a:pt x="0" y="645"/>
                  <a:pt x="0" y="1440"/>
                </a:cubicBezTo>
                <a:cubicBezTo>
                  <a:pt x="0" y="2235"/>
                  <a:pt x="645" y="2880"/>
                  <a:pt x="1440" y="2880"/>
                </a:cubicBezTo>
                <a:cubicBezTo>
                  <a:pt x="2235" y="2880"/>
                  <a:pt x="2880" y="2235"/>
                  <a:pt x="2880" y="1440"/>
                </a:cubicBezTo>
                <a:cubicBezTo>
                  <a:pt x="2880" y="645"/>
                  <a:pt x="2235" y="0"/>
                  <a:pt x="1440" y="0"/>
                </a:cubicBezTo>
                <a:close/>
                <a:moveTo>
                  <a:pt x="1440" y="2400"/>
                </a:moveTo>
                <a:cubicBezTo>
                  <a:pt x="910" y="2400"/>
                  <a:pt x="480" y="1970"/>
                  <a:pt x="480" y="1440"/>
                </a:cubicBezTo>
                <a:cubicBezTo>
                  <a:pt x="480" y="910"/>
                  <a:pt x="910" y="480"/>
                  <a:pt x="1440" y="480"/>
                </a:cubicBezTo>
                <a:cubicBezTo>
                  <a:pt x="1970" y="480"/>
                  <a:pt x="2400" y="910"/>
                  <a:pt x="2400" y="1440"/>
                </a:cubicBezTo>
                <a:cubicBezTo>
                  <a:pt x="2400" y="1970"/>
                  <a:pt x="1970" y="2400"/>
                  <a:pt x="1440" y="2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BDC7CDAE-1236-43A1-895F-21E0FE83D5D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8215177" y="896540"/>
            <a:ext cx="456653" cy="457200"/>
          </a:xfrm>
          <a:custGeom>
            <a:avLst/>
            <a:gdLst>
              <a:gd name="T0" fmla="*/ 2217 w 3326"/>
              <a:gd name="T1" fmla="*/ 0 h 3330"/>
              <a:gd name="T2" fmla="*/ 1109 w 3326"/>
              <a:gd name="T3" fmla="*/ 0 h 3330"/>
              <a:gd name="T4" fmla="*/ 0 w 3326"/>
              <a:gd name="T5" fmla="*/ 1110 h 3330"/>
              <a:gd name="T6" fmla="*/ 0 w 3326"/>
              <a:gd name="T7" fmla="*/ 2220 h 3330"/>
              <a:gd name="T8" fmla="*/ 1109 w 3326"/>
              <a:gd name="T9" fmla="*/ 3330 h 3330"/>
              <a:gd name="T10" fmla="*/ 1109 w 3326"/>
              <a:gd name="T11" fmla="*/ 2220 h 3330"/>
              <a:gd name="T12" fmla="*/ 2217 w 3326"/>
              <a:gd name="T13" fmla="*/ 2220 h 3330"/>
              <a:gd name="T14" fmla="*/ 2217 w 3326"/>
              <a:gd name="T15" fmla="*/ 3330 h 3330"/>
              <a:gd name="T16" fmla="*/ 3326 w 3326"/>
              <a:gd name="T17" fmla="*/ 2220 h 3330"/>
              <a:gd name="T18" fmla="*/ 3326 w 3326"/>
              <a:gd name="T19" fmla="*/ 1110 h 3330"/>
              <a:gd name="T20" fmla="*/ 2217 w 3326"/>
              <a:gd name="T21" fmla="*/ 0 h 3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26" h="3330">
                <a:moveTo>
                  <a:pt x="2217" y="0"/>
                </a:moveTo>
                <a:lnTo>
                  <a:pt x="1109" y="0"/>
                </a:lnTo>
                <a:lnTo>
                  <a:pt x="0" y="1110"/>
                </a:lnTo>
                <a:lnTo>
                  <a:pt x="0" y="2220"/>
                </a:lnTo>
                <a:lnTo>
                  <a:pt x="1109" y="3330"/>
                </a:lnTo>
                <a:lnTo>
                  <a:pt x="1109" y="2220"/>
                </a:lnTo>
                <a:lnTo>
                  <a:pt x="2217" y="2220"/>
                </a:lnTo>
                <a:lnTo>
                  <a:pt x="2217" y="3330"/>
                </a:lnTo>
                <a:lnTo>
                  <a:pt x="3326" y="2220"/>
                </a:lnTo>
                <a:lnTo>
                  <a:pt x="3326" y="1110"/>
                </a:lnTo>
                <a:lnTo>
                  <a:pt x="2217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ED6196C7-E992-4AF3-9F8E-1CDB5A7E32A4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4301401" y="896540"/>
            <a:ext cx="456653" cy="457200"/>
          </a:xfrm>
          <a:custGeom>
            <a:avLst/>
            <a:gdLst>
              <a:gd name="T0" fmla="*/ 2400 w 2880"/>
              <a:gd name="T1" fmla="*/ 960 h 2880"/>
              <a:gd name="T2" fmla="*/ 1920 w 2880"/>
              <a:gd name="T3" fmla="*/ 480 h 2880"/>
              <a:gd name="T4" fmla="*/ 2190 w 2880"/>
              <a:gd name="T5" fmla="*/ 210 h 2880"/>
              <a:gd name="T6" fmla="*/ 1440 w 2880"/>
              <a:gd name="T7" fmla="*/ 0 h 2880"/>
              <a:gd name="T8" fmla="*/ 690 w 2880"/>
              <a:gd name="T9" fmla="*/ 210 h 2880"/>
              <a:gd name="T10" fmla="*/ 960 w 2880"/>
              <a:gd name="T11" fmla="*/ 480 h 2880"/>
              <a:gd name="T12" fmla="*/ 480 w 2880"/>
              <a:gd name="T13" fmla="*/ 960 h 2880"/>
              <a:gd name="T14" fmla="*/ 210 w 2880"/>
              <a:gd name="T15" fmla="*/ 690 h 2880"/>
              <a:gd name="T16" fmla="*/ 0 w 2880"/>
              <a:gd name="T17" fmla="*/ 1440 h 2880"/>
              <a:gd name="T18" fmla="*/ 1440 w 2880"/>
              <a:gd name="T19" fmla="*/ 2880 h 2880"/>
              <a:gd name="T20" fmla="*/ 2190 w 2880"/>
              <a:gd name="T21" fmla="*/ 2670 h 2880"/>
              <a:gd name="T22" fmla="*/ 1920 w 2880"/>
              <a:gd name="T23" fmla="*/ 2400 h 2880"/>
              <a:gd name="T24" fmla="*/ 2400 w 2880"/>
              <a:gd name="T25" fmla="*/ 1920 h 2880"/>
              <a:gd name="T26" fmla="*/ 2670 w 2880"/>
              <a:gd name="T27" fmla="*/ 2190 h 2880"/>
              <a:gd name="T28" fmla="*/ 2880 w 2880"/>
              <a:gd name="T29" fmla="*/ 1440 h 2880"/>
              <a:gd name="T30" fmla="*/ 2670 w 2880"/>
              <a:gd name="T31" fmla="*/ 690 h 2880"/>
              <a:gd name="T32" fmla="*/ 2400 w 2880"/>
              <a:gd name="T33" fmla="*/ 960 h 2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880" h="2880">
                <a:moveTo>
                  <a:pt x="2400" y="960"/>
                </a:moveTo>
                <a:cubicBezTo>
                  <a:pt x="1920" y="480"/>
                  <a:pt x="1920" y="480"/>
                  <a:pt x="1920" y="480"/>
                </a:cubicBezTo>
                <a:cubicBezTo>
                  <a:pt x="2190" y="210"/>
                  <a:pt x="2190" y="210"/>
                  <a:pt x="2190" y="210"/>
                </a:cubicBezTo>
                <a:cubicBezTo>
                  <a:pt x="1971" y="77"/>
                  <a:pt x="1715" y="0"/>
                  <a:pt x="1440" y="0"/>
                </a:cubicBezTo>
                <a:cubicBezTo>
                  <a:pt x="1165" y="0"/>
                  <a:pt x="909" y="77"/>
                  <a:pt x="690" y="210"/>
                </a:cubicBezTo>
                <a:cubicBezTo>
                  <a:pt x="960" y="480"/>
                  <a:pt x="960" y="480"/>
                  <a:pt x="960" y="480"/>
                </a:cubicBezTo>
                <a:cubicBezTo>
                  <a:pt x="480" y="960"/>
                  <a:pt x="480" y="960"/>
                  <a:pt x="480" y="960"/>
                </a:cubicBezTo>
                <a:cubicBezTo>
                  <a:pt x="210" y="690"/>
                  <a:pt x="210" y="690"/>
                  <a:pt x="210" y="690"/>
                </a:cubicBezTo>
                <a:cubicBezTo>
                  <a:pt x="77" y="909"/>
                  <a:pt x="0" y="1165"/>
                  <a:pt x="0" y="1440"/>
                </a:cubicBezTo>
                <a:cubicBezTo>
                  <a:pt x="0" y="2235"/>
                  <a:pt x="645" y="2880"/>
                  <a:pt x="1440" y="2880"/>
                </a:cubicBezTo>
                <a:cubicBezTo>
                  <a:pt x="1715" y="2880"/>
                  <a:pt x="1971" y="2803"/>
                  <a:pt x="2190" y="2670"/>
                </a:cubicBezTo>
                <a:cubicBezTo>
                  <a:pt x="1920" y="2400"/>
                  <a:pt x="1920" y="2400"/>
                  <a:pt x="1920" y="2400"/>
                </a:cubicBezTo>
                <a:cubicBezTo>
                  <a:pt x="2400" y="1920"/>
                  <a:pt x="2400" y="1920"/>
                  <a:pt x="2400" y="1920"/>
                </a:cubicBezTo>
                <a:cubicBezTo>
                  <a:pt x="2670" y="2190"/>
                  <a:pt x="2670" y="2190"/>
                  <a:pt x="2670" y="2190"/>
                </a:cubicBezTo>
                <a:cubicBezTo>
                  <a:pt x="2803" y="1971"/>
                  <a:pt x="2880" y="1715"/>
                  <a:pt x="2880" y="1440"/>
                </a:cubicBezTo>
                <a:cubicBezTo>
                  <a:pt x="2880" y="1165"/>
                  <a:pt x="2803" y="909"/>
                  <a:pt x="2670" y="690"/>
                </a:cubicBezTo>
                <a:lnTo>
                  <a:pt x="2400" y="96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811030CB-12B2-4E52-A946-1F5AA31A7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11273" y="6285600"/>
            <a:ext cx="4572000" cy="288000"/>
          </a:xfrm>
        </p:spPr>
        <p:txBody>
          <a:bodyPr/>
          <a:lstStyle/>
          <a:p>
            <a:r>
              <a:rPr lang="en-US"/>
              <a:t>IATA Consulting Research for SafeFlight Inc.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41455389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tx2"/>
            </a:solidFill>
          </a:ln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617EABD5-4D9F-4D57-858D-7A1D0563C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BF810B9C-3AE9-4164-AA74-5E28FF3CDED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04AFBC1-71EE-4F2B-93E6-67211E973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1475999"/>
            <a:ext cx="4325112" cy="1511999"/>
          </a:xfrm>
        </p:spPr>
        <p:txBody>
          <a:bodyPr/>
          <a:lstStyle>
            <a:lvl1pPr>
              <a:defRPr sz="13800">
                <a:latin typeface="Aktiv Grotesk Thin" panose="020B0404020202020204" pitchFamily="34" charset="0"/>
                <a:cs typeface="Aktiv Grotesk Thin" panose="020B0404020202020204" pitchFamily="34" charset="0"/>
              </a:defRPr>
            </a:lvl1pPr>
          </a:lstStyle>
          <a:p>
            <a:r>
              <a:rPr lang="en-US"/>
              <a:t>00%</a:t>
            </a:r>
          </a:p>
        </p:txBody>
      </p:sp>
      <p:sp>
        <p:nvSpPr>
          <p:cNvPr id="15" name="Content Placeholder 7">
            <a:extLst>
              <a:ext uri="{FF2B5EF4-FFF2-40B4-BE49-F238E27FC236}">
                <a16:creationId xmlns:a16="http://schemas.microsoft.com/office/drawing/2014/main" id="{CFFD3A91-59D2-4A4E-9DB8-30A853AD2FE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3209400"/>
            <a:ext cx="4325112" cy="2514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5383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light)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22E7BE86-1D14-4D77-9E4C-5EC332415ED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6858000"/>
          </a:xfr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to add a light picture</a:t>
            </a:r>
          </a:p>
        </p:txBody>
      </p:sp>
      <p:sp>
        <p:nvSpPr>
          <p:cNvPr id="13" name="Picture Placeholder 26">
            <a:extLst>
              <a:ext uri="{FF2B5EF4-FFF2-40B4-BE49-F238E27FC236}">
                <a16:creationId xmlns:a16="http://schemas.microsoft.com/office/drawing/2014/main" id="{C68175C9-C861-4645-B85F-71F5305CC1D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914213" y="5914577"/>
            <a:ext cx="896112" cy="5669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4C215556-9BD0-4682-98A8-DD82D4492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434" y="6285600"/>
            <a:ext cx="720000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536B0AEE-3667-44C6-A49D-917B982CE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17465-DF06-429D-AE1E-E93985809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22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dark) with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E5DC9774-B3E3-43AF-BF40-A6FEF89B999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here to add a dark picture</a:t>
            </a:r>
          </a:p>
        </p:txBody>
      </p:sp>
      <p:sp>
        <p:nvSpPr>
          <p:cNvPr id="13" name="Picture Placeholder 26">
            <a:extLst>
              <a:ext uri="{FF2B5EF4-FFF2-40B4-BE49-F238E27FC236}">
                <a16:creationId xmlns:a16="http://schemas.microsoft.com/office/drawing/2014/main" id="{C68175C9-C861-4645-B85F-71F5305CC1D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914213" y="5914577"/>
            <a:ext cx="896112" cy="5669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F18F95E6-CCA8-4FE7-B424-D5F7A5C3F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434" y="6285600"/>
            <a:ext cx="720000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A3E8F0E1-9806-4E30-99DD-FC7877D03F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2346B5-1051-446A-B028-B4A26D49A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56337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light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22E7BE86-1D14-4D77-9E4C-5EC332415ED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1999" cy="6858000"/>
          </a:xfr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Click here to add a light picture</a:t>
            </a:r>
          </a:p>
        </p:txBody>
      </p:sp>
      <p:sp>
        <p:nvSpPr>
          <p:cNvPr id="13" name="Picture Placeholder 26">
            <a:extLst>
              <a:ext uri="{FF2B5EF4-FFF2-40B4-BE49-F238E27FC236}">
                <a16:creationId xmlns:a16="http://schemas.microsoft.com/office/drawing/2014/main" id="{C68175C9-C861-4645-B85F-71F5305CC1D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914213" y="5914577"/>
            <a:ext cx="896112" cy="5669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4C215556-9BD0-4682-98A8-DD82D4492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434" y="6285600"/>
            <a:ext cx="720000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536B0AEE-3667-44C6-A49D-917B982CE8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18482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(dark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E5DC9774-B3E3-43AF-BF40-A6FEF89B999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here to add a dark picture</a:t>
            </a:r>
          </a:p>
        </p:txBody>
      </p:sp>
      <p:sp>
        <p:nvSpPr>
          <p:cNvPr id="13" name="Picture Placeholder 26">
            <a:extLst>
              <a:ext uri="{FF2B5EF4-FFF2-40B4-BE49-F238E27FC236}">
                <a16:creationId xmlns:a16="http://schemas.microsoft.com/office/drawing/2014/main" id="{C68175C9-C861-4645-B85F-71F5305CC1D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914213" y="5914577"/>
            <a:ext cx="896112" cy="5669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F18F95E6-CCA8-4FE7-B424-D5F7A5C3F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434" y="6285600"/>
            <a:ext cx="720000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A3E8F0E1-9806-4E30-99DD-FC7877D03F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48241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Infographic+Tex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B3230E92-8E74-4F7F-AA07-FB45DDDBFB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54829" y="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ECEAD2B-425C-44E5-B592-0B09E9F420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68829" y="0"/>
            <a:ext cx="2286000" cy="1143000"/>
          </a:xfrm>
          <a:solidFill>
            <a:schemeClr val="accent1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704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3E982D24-E43A-465C-A6EC-1B2673B5E9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829" y="1143000"/>
            <a:ext cx="2286000" cy="1143000"/>
          </a:xfrm>
          <a:solidFill>
            <a:schemeClr val="accent1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56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62263C34-604E-43AD-A4BA-E124354E1F2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68829" y="228600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B4AB61E-8F2A-4C5D-8C50-C2B81CCB3E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4829" y="2286000"/>
            <a:ext cx="2286000" cy="1143000"/>
          </a:xfrm>
          <a:solidFill>
            <a:schemeClr val="accent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704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12A70373-ECE2-43DE-B382-33B196617DE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54829" y="3429000"/>
            <a:ext cx="2286000" cy="1143000"/>
          </a:xfrm>
          <a:solidFill>
            <a:schemeClr val="accent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56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A8C5C012-0818-4E83-8BAF-78A346065AF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54829" y="457200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7A0DF7B6-674F-4387-B3AC-D4BF3B305B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8829" y="4572000"/>
            <a:ext cx="2286000" cy="1143000"/>
          </a:xfrm>
          <a:solidFill>
            <a:schemeClr val="accent3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704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2581D674-05BE-4243-8623-2D9D3A35F4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8829" y="5715000"/>
            <a:ext cx="2286000" cy="1143000"/>
          </a:xfrm>
          <a:solidFill>
            <a:schemeClr val="accent3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56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6CC3D1C5-1295-44F1-A9C4-E84E95706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1" y="365125"/>
            <a:ext cx="5524500" cy="61264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11C465FF-571A-4758-ADF4-EBF2C1FF47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86501" y="1899697"/>
            <a:ext cx="5524500" cy="38534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859603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38A3C210-3C6C-BB4E-AB18-520DA31DFF9D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here to add a video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6477877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C8B0DA69-2935-4D6A-A36C-757930CB34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434" y="6285600"/>
            <a:ext cx="720000" cy="288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F290C1-FB0F-495F-941C-79B875BCC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73AACF9-D102-4D12-A21C-10447E9D79B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3528953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C8B0DA69-2935-4D6A-A36C-757930CB34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434" y="6285600"/>
            <a:ext cx="720000" cy="2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8F290C1-FB0F-495F-941C-79B875BCC9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73AACF9-D102-4D12-A21C-10447E9D79B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6918338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White 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2114589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Blue No Footer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9665945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51C300-CE73-4389-808E-0BC2B12386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8CC902-8F6A-4A06-806E-6F5BC619AD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5214BC-8BAC-4AC8-ACC8-FB9AC8BA61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[CLIENT] | IATA Consulting Proposal | Confidential</a:t>
            </a:r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5530751F-A8E8-440E-B801-F65DE773FB1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7625" y="1476000"/>
            <a:ext cx="11412000" cy="4248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CE46DC4-CDD9-4144-9288-2F5222E830B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4996258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Box Narrow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49C5923-32E3-4A39-9AF5-7C780E8B55D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061144F1-8815-4126-9B51-7AA003D3D8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13309415-BF25-4435-8193-01439AE37ED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87625" y="1476000"/>
            <a:ext cx="5544000" cy="260604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7">
            <a:extLst>
              <a:ext uri="{FF2B5EF4-FFF2-40B4-BE49-F238E27FC236}">
                <a16:creationId xmlns:a16="http://schemas.microsoft.com/office/drawing/2014/main" id="{BF980AF3-2B4C-47ED-9499-0CA0C00D26E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255625" y="1476000"/>
            <a:ext cx="5544000" cy="260604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7">
            <a:extLst>
              <a:ext uri="{FF2B5EF4-FFF2-40B4-BE49-F238E27FC236}">
                <a16:creationId xmlns:a16="http://schemas.microsoft.com/office/drawing/2014/main" id="{66FA90C3-95ED-49CA-BB88-938271BE1483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87625" y="4416408"/>
            <a:ext cx="11412000" cy="130759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802168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Infographic+Tex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FC49835B-3C76-43BD-90E3-3F65A317FCE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901612" y="457200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D04E8466-FA17-4595-AE06-97B7AF8CAE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1612" y="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7DE5AD0A-2F5C-47F0-A3EE-3AA49475BF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7612" y="0"/>
            <a:ext cx="2286000" cy="1143000"/>
          </a:xfrm>
          <a:solidFill>
            <a:schemeClr val="accent1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704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821464D5-97B7-4B84-9739-F1E45AF987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7612" y="1143000"/>
            <a:ext cx="2286000" cy="1143000"/>
          </a:xfrm>
          <a:solidFill>
            <a:schemeClr val="accent1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56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07639D56-A4DF-49B3-A536-984FF11A1A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87612" y="228600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id="{AE9AF368-5845-4B2E-9CBD-AC2784AF67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01612" y="2286000"/>
            <a:ext cx="2286000" cy="1143000"/>
          </a:xfrm>
          <a:solidFill>
            <a:schemeClr val="accent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704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1CE716BB-107B-4C95-B429-8E4663C6EE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01612" y="3429000"/>
            <a:ext cx="2286000" cy="1143000"/>
          </a:xfrm>
          <a:solidFill>
            <a:schemeClr val="accent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56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9DB03C21-F3CF-499C-A601-90260C1F06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87612" y="4572000"/>
            <a:ext cx="2286000" cy="1143000"/>
          </a:xfrm>
          <a:solidFill>
            <a:schemeClr val="accent3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704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FF419B72-217F-4199-9454-A8BEDDC616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87612" y="5715000"/>
            <a:ext cx="2286000" cy="1143000"/>
          </a:xfrm>
          <a:solidFill>
            <a:schemeClr val="accent3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56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C5179FB1-935D-4116-90F9-6DE348B23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5125"/>
            <a:ext cx="4736592" cy="61264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22DF753C-DCC4-48B5-BC62-51F01144E1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81001" y="1899697"/>
            <a:ext cx="4736592" cy="38534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572707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Infographic+Tex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D04E8466-FA17-4595-AE06-97B7AF8CAE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11" y="0"/>
            <a:ext cx="3618187" cy="6853334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7DE5AD0A-2F5C-47F0-A3EE-3AA49475BF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19500" y="0"/>
            <a:ext cx="2286000" cy="1143000"/>
          </a:xfrm>
          <a:solidFill>
            <a:schemeClr val="accent1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704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821464D5-97B7-4B84-9739-F1E45AF987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9500" y="1143000"/>
            <a:ext cx="2286000" cy="1143000"/>
          </a:xfrm>
          <a:solidFill>
            <a:schemeClr val="accent1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56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id="{AE9AF368-5845-4B2E-9CBD-AC2784AF67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19502" y="2286000"/>
            <a:ext cx="2286000" cy="1143000"/>
          </a:xfrm>
          <a:solidFill>
            <a:schemeClr val="accent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704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1CE716BB-107B-4C95-B429-8E4663C6EE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19502" y="3429000"/>
            <a:ext cx="2286000" cy="1143000"/>
          </a:xfrm>
          <a:solidFill>
            <a:schemeClr val="accent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56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9DB03C21-F3CF-499C-A601-90260C1F06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19503" y="4572000"/>
            <a:ext cx="2286000" cy="1143000"/>
          </a:xfrm>
          <a:solidFill>
            <a:schemeClr val="accent3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704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FF419B72-217F-4199-9454-A8BEDDC616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19503" y="5715000"/>
            <a:ext cx="2286000" cy="1143000"/>
          </a:xfrm>
          <a:solidFill>
            <a:schemeClr val="accent3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56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29D6A1D-EA67-4C28-809B-DCE0A960A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1" y="365125"/>
            <a:ext cx="5524500" cy="61264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A876BA25-A26F-4213-B8B6-49D14D1B6C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86501" y="1899697"/>
            <a:ext cx="5524500" cy="38534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5091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Big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B767A-0100-4E11-94C6-E29DB60EA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1"/>
            <a:ext cx="4736592" cy="5372100"/>
          </a:xfrm>
        </p:spPr>
        <p:txBody>
          <a:bodyPr anchor="t" anchorCtr="0"/>
          <a:lstStyle>
            <a:lvl1pPr>
              <a:defRPr sz="576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</p:spTree>
    <p:extLst>
      <p:ext uri="{BB962C8B-B14F-4D97-AF65-F5344CB8AC3E}">
        <p14:creationId xmlns:p14="http://schemas.microsoft.com/office/powerpoint/2010/main" val="239799137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WHITE_TextSlide_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29324" cy="60939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71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7C326BA-A1F7-4E33-88FC-B76359D35FF4}" type="datetime3">
              <a:rPr lang="en-US" smtClean="0"/>
              <a:pPr/>
              <a:t>30 November 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5B7B4106-2F1F-45B9-9A64-FAC3DF7E09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0713459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BigQuote+Tex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B767A-0100-4E11-94C6-E29DB60EA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1"/>
            <a:ext cx="4733260" cy="5372100"/>
          </a:xfrm>
        </p:spPr>
        <p:txBody>
          <a:bodyPr anchor="t" anchorCtr="0"/>
          <a:lstStyle>
            <a:lvl1pPr>
              <a:defRPr sz="576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5CCB49-02C2-43A0-A23F-412EC6F653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905454" y="381001"/>
            <a:ext cx="5905547" cy="612648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413">
                <a:solidFill>
                  <a:schemeClr val="accent1"/>
                </a:solidFill>
                <a:latin typeface="+mj-lt"/>
              </a:defRPr>
            </a:lvl1pPr>
            <a:lvl2pPr marL="487695" indent="0">
              <a:buNone/>
              <a:defRPr sz="1493"/>
            </a:lvl2pPr>
            <a:lvl3pPr marL="975390" indent="0">
              <a:buNone/>
              <a:defRPr sz="1280"/>
            </a:lvl3pPr>
            <a:lvl4pPr marL="1463086" indent="0">
              <a:buNone/>
              <a:defRPr sz="1067"/>
            </a:lvl4pPr>
            <a:lvl5pPr marL="1950781" indent="0">
              <a:buNone/>
              <a:defRPr sz="1067"/>
            </a:lvl5pPr>
            <a:lvl6pPr marL="2438476" indent="0">
              <a:buNone/>
              <a:defRPr sz="1067"/>
            </a:lvl6pPr>
            <a:lvl7pPr marL="2926171" indent="0">
              <a:buNone/>
              <a:defRPr sz="1067"/>
            </a:lvl7pPr>
            <a:lvl8pPr marL="3413867" indent="0">
              <a:buNone/>
              <a:defRPr sz="1067"/>
            </a:lvl8pPr>
            <a:lvl9pPr marL="3901562" indent="0">
              <a:buNone/>
              <a:defRPr sz="10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3D29B1E-4BD2-4E78-91D7-0D0DE0F634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5500" y="1485901"/>
            <a:ext cx="5904825" cy="4267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11754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ThankYou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B8F16C-570A-470A-AC41-3DFDC1411C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48426" y="0"/>
            <a:ext cx="5753100" cy="5753100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5742127 w 5753100"/>
              <a:gd name="connsiteY3" fmla="*/ 5753100 h 5753100"/>
              <a:gd name="connsiteX4" fmla="*/ 4388 w 5753100"/>
              <a:gd name="connsiteY4" fmla="*/ 297076 h 5753100"/>
              <a:gd name="connsiteX5" fmla="*/ 0 w 5753100"/>
              <a:gd name="connsiteY5" fmla="*/ 123264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5742127" y="5753100"/>
                </a:lnTo>
                <a:cubicBezTo>
                  <a:pt x="2667478" y="5753100"/>
                  <a:pt x="158214" y="3337026"/>
                  <a:pt x="4388" y="297076"/>
                </a:cubicBezTo>
                <a:lnTo>
                  <a:pt x="0" y="123264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1"/>
            <a:ext cx="4736592" cy="3048000"/>
          </a:xfrm>
        </p:spPr>
        <p:txBody>
          <a:bodyPr anchor="t" anchorCtr="0"/>
          <a:lstStyle>
            <a:lvl1pPr>
              <a:defRPr sz="576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1" y="3429000"/>
            <a:ext cx="4736592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sign off information</a:t>
            </a:r>
          </a:p>
        </p:txBody>
      </p:sp>
    </p:spTree>
    <p:extLst>
      <p:ext uri="{BB962C8B-B14F-4D97-AF65-F5344CB8AC3E}">
        <p14:creationId xmlns:p14="http://schemas.microsoft.com/office/powerpoint/2010/main" val="288665937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HITE_ThankYou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2D38E8E-19F8-46C4-BBB3-D11FF77116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57623" y="0"/>
            <a:ext cx="5134377" cy="5134377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0 w 5753100"/>
              <a:gd name="connsiteY3" fmla="*/ 5753100 h 5753100"/>
              <a:gd name="connsiteX4" fmla="*/ 0 w 5753100"/>
              <a:gd name="connsiteY4" fmla="*/ 3836825 h 5753100"/>
              <a:gd name="connsiteX5" fmla="*/ 1915378 w 5753100"/>
              <a:gd name="connsiteY5" fmla="*/ 3836825 h 5753100"/>
              <a:gd name="connsiteX6" fmla="*/ 1915378 w 5753100"/>
              <a:gd name="connsiteY6" fmla="*/ 1919151 h 5753100"/>
              <a:gd name="connsiteX7" fmla="*/ 0 w 5753100"/>
              <a:gd name="connsiteY7" fmla="*/ 1919151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0" y="5753100"/>
                </a:lnTo>
                <a:lnTo>
                  <a:pt x="0" y="3836825"/>
                </a:lnTo>
                <a:lnTo>
                  <a:pt x="1915378" y="3836825"/>
                </a:lnTo>
                <a:lnTo>
                  <a:pt x="1915378" y="1919151"/>
                </a:lnTo>
                <a:lnTo>
                  <a:pt x="0" y="1919151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81001"/>
            <a:ext cx="4736592" cy="3048000"/>
          </a:xfrm>
        </p:spPr>
        <p:txBody>
          <a:bodyPr anchor="t" anchorCtr="0"/>
          <a:lstStyle>
            <a:lvl1pPr>
              <a:defRPr sz="576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1" y="3429000"/>
            <a:ext cx="4736592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sign off information</a:t>
            </a:r>
          </a:p>
        </p:txBody>
      </p:sp>
    </p:spTree>
    <p:extLst>
      <p:ext uri="{BB962C8B-B14F-4D97-AF65-F5344CB8AC3E}">
        <p14:creationId xmlns:p14="http://schemas.microsoft.com/office/powerpoint/2010/main" val="428351868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EE705D-33B1-944B-8CE4-56B5C4C553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BA5EA-FB73-8444-A40D-D9380E8C4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0E20ED-4F03-A049-8598-82956CB897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7E5C-1573-9F4E-88D4-81D2D885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87625" y="1476000"/>
            <a:ext cx="11412000" cy="4248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3966501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30-Nov-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564469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11412000" cy="720000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30-Nov-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311FF4A-6575-2B4F-8705-5DCE090EE6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5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787686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Grey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/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30-Nov-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E540DE6-B189-7941-AE87-701F299385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625" y="1476000"/>
            <a:ext cx="5544000" cy="424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ABFFE6FA-CCB2-E944-AE78-BE364F70124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247754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Multi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C5D76C-ED68-064B-A7A9-C9CDFF56C986}"/>
              </a:ext>
            </a:extLst>
          </p:cNvPr>
          <p:cNvSpPr/>
          <p:nvPr userDrawn="1"/>
        </p:nvSpPr>
        <p:spPr>
          <a:xfrm>
            <a:off x="6108001" y="0"/>
            <a:ext cx="6083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19ACA7-7E3F-1A46-AF73-86BC08C35C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2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3664B8-0E7B-0247-BD4D-F4617A22F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30-Nov-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F9D735-627E-5C49-940F-A6122323A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EE3D8-4C43-C641-A0D7-953527526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04AF51F-FB00-E846-AA12-12BD9665EC0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625" y="1476000"/>
            <a:ext cx="5544000" cy="4248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BDFD5DA-5D4B-7D46-A2DE-B3296588BC4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56075" y="1476000"/>
            <a:ext cx="5543550" cy="42481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5A022EB-FA1E-DE4C-95B5-3863E488B3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6075" y="331200"/>
            <a:ext cx="5544000" cy="720000"/>
          </a:xfrm>
        </p:spPr>
        <p:txBody>
          <a:bodyPr/>
          <a:lstStyle>
            <a:lvl1pPr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41B81D9-D63C-3A45-B5D1-F0E0F712AC1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544278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9">
            <a:extLst>
              <a:ext uri="{FF2B5EF4-FFF2-40B4-BE49-F238E27FC236}">
                <a16:creationId xmlns:a16="http://schemas.microsoft.com/office/drawing/2014/main" id="{5A62BB11-9EFF-F645-BCB6-C22776E9D0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3200" cy="6858000"/>
          </a:xfrm>
          <a:solidFill>
            <a:schemeClr val="bg2"/>
          </a:solidFill>
          <a:ln>
            <a:noFill/>
          </a:ln>
        </p:spPr>
        <p:txBody>
          <a:bodyPr anchor="ctr" anchorCtr="0"/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703C04-8D45-924B-BC45-6A7109C11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30-Nov-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F0389-2F78-6941-81DE-B9CAA34DC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C897D-5B61-914B-8ED5-263B924C2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46A7E639-1729-EF45-A48C-17927EC5B2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800" y="331201"/>
            <a:ext cx="10440000" cy="3096000"/>
          </a:xfrm>
        </p:spPr>
        <p:txBody>
          <a:bodyPr/>
          <a:lstStyle>
            <a:lvl1pPr>
              <a:lnSpc>
                <a:spcPts val="5500"/>
              </a:lnSpc>
              <a:spcAft>
                <a:spcPts val="2400"/>
              </a:spcAft>
              <a:defRPr sz="5000" spc="-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99190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6825">
          <p15:clr>
            <a:srgbClr val="F26B43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C65874E-B7B2-864B-97BA-3B61A51574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43626" y="0"/>
            <a:ext cx="6048375" cy="6063798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00E41C-0494-6441-8E0D-BE244BFA44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999" y="1008000"/>
            <a:ext cx="4348937" cy="1980000"/>
          </a:xfrm>
        </p:spPr>
        <p:txBody>
          <a:bodyPr anchor="t" anchorCtr="0"/>
          <a:lstStyle>
            <a:lvl1pPr>
              <a:lnSpc>
                <a:spcPct val="100000"/>
              </a:lnSpc>
              <a:defRPr sz="14000" b="0" i="0" spc="-150" baseline="0">
                <a:solidFill>
                  <a:schemeClr val="accent1"/>
                </a:solidFill>
                <a:latin typeface="Aktiv Grotesk Thin" panose="020B0404020202020204" pitchFamily="34" charset="0"/>
                <a:cs typeface="Aktiv Grotesk Thin" panose="020B0404020202020204" pitchFamily="34" charset="0"/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B65A77-B204-F543-AF6D-4E63C03889B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8937" y="2987999"/>
            <a:ext cx="4320000" cy="2736000"/>
          </a:xfrm>
        </p:spPr>
        <p:txBody>
          <a:bodyPr/>
          <a:lstStyle>
            <a:lvl1pPr>
              <a:lnSpc>
                <a:spcPts val="3400"/>
              </a:lnSpc>
              <a:spcAft>
                <a:spcPts val="12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195517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WHITE_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82CEB40-7C69-47E5-9106-E566935D3F53}" type="datetime3">
              <a:rPr lang="en-US" smtClean="0"/>
              <a:pPr/>
              <a:t>30 November 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EEA34B-ADB0-4A9B-A944-DB4F9AB7A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E037E20-29EF-410F-AA70-D50FAE88B30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991219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56A8C-F631-5048-933E-36BB2B719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pPr/>
              <a:t>30-Nov-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ABC13E-3AAB-A84C-BD3A-6009A004F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142A4-736B-DF4E-A72E-E936C45320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38A3C210-3C6C-BB4E-AB18-520DA31DFF9D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824885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0C526-47DC-3B45-BDB4-3CBB68F7E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8E15B81-5BF2-6D47-B422-14E4A7A3C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32541C-BDB6-9B41-BD0A-BEE336E5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EA3E96B-CBB6-3C49-A743-98A233E35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57615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C0E1B9C-4020-8D40-8114-6D2077D17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2E3C5-6C5C-B64A-8608-EE5898873FAE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F6BFB6-8E76-E74C-8B47-4AA68D18ED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DAD2-3870-D94F-A3B0-6B52A8872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93274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62418-2027-4283-9C54-F811CA1BD28B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25B54-43A0-46A4-8470-7B4D3D8CBC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902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62418-2027-4283-9C54-F811CA1BD28B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25B54-43A0-46A4-8470-7B4D3D8CBC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5609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62418-2027-4283-9C54-F811CA1BD28B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25B54-43A0-46A4-8470-7B4D3D8CBC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95150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62418-2027-4283-9C54-F811CA1BD28B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25B54-43A0-46A4-8470-7B4D3D8CBC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2049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62418-2027-4283-9C54-F811CA1BD28B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25B54-43A0-46A4-8470-7B4D3D8CBC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017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62418-2027-4283-9C54-F811CA1BD28B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25B54-43A0-46A4-8470-7B4D3D8CBC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7503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62418-2027-4283-9C54-F811CA1BD28B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25B54-43A0-46A4-8470-7B4D3D8CBC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69752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HIT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1A86010D-9F01-497B-8478-6CF04E7FA29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58FB484-E257-4956-8FB5-C4732E1049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8F5EBA1-C1C2-4F6F-970D-CFE4A81E1DB0}" type="datetime3">
              <a:rPr lang="en-US" smtClean="0"/>
              <a:pPr/>
              <a:t>30 November 2021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AF5AAFD-95B3-4157-BBB5-7CC40DB35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A34BD8F-0033-4927-AA44-05B0484E3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447408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62418-2027-4283-9C54-F811CA1BD28B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25B54-43A0-46A4-8470-7B4D3D8CBC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7750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62418-2027-4283-9C54-F811CA1BD28B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25B54-43A0-46A4-8470-7B4D3D8CBC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670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62418-2027-4283-9C54-F811CA1BD28B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25B54-43A0-46A4-8470-7B4D3D8CBC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3012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262418-2027-4283-9C54-F811CA1BD28B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25B54-43A0-46A4-8470-7B4D3D8CBC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5038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0-Nov-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635466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8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0-Nov-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315542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8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0-Nov-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581968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1E31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10910316" y="5917691"/>
            <a:ext cx="901065" cy="563880"/>
          </a:xfrm>
          <a:custGeom>
            <a:avLst/>
            <a:gdLst/>
            <a:ahLst/>
            <a:cxnLst/>
            <a:rect l="l" t="t" r="r" b="b"/>
            <a:pathLst>
              <a:path w="901065" h="563879">
                <a:moveTo>
                  <a:pt x="900683" y="182321"/>
                </a:moveTo>
                <a:lnTo>
                  <a:pt x="619251" y="182321"/>
                </a:lnTo>
                <a:lnTo>
                  <a:pt x="606567" y="218378"/>
                </a:lnTo>
                <a:lnTo>
                  <a:pt x="583501" y="250867"/>
                </a:lnTo>
                <a:lnTo>
                  <a:pt x="549100" y="279392"/>
                </a:lnTo>
                <a:lnTo>
                  <a:pt x="502411" y="303555"/>
                </a:lnTo>
                <a:lnTo>
                  <a:pt x="511809" y="320860"/>
                </a:lnTo>
                <a:lnTo>
                  <a:pt x="526827" y="335567"/>
                </a:lnTo>
                <a:lnTo>
                  <a:pt x="545703" y="345780"/>
                </a:lnTo>
                <a:lnTo>
                  <a:pt x="566674" y="349605"/>
                </a:lnTo>
                <a:lnTo>
                  <a:pt x="719201" y="349605"/>
                </a:lnTo>
                <a:lnTo>
                  <a:pt x="735685" y="346360"/>
                </a:lnTo>
                <a:lnTo>
                  <a:pt x="749728" y="338093"/>
                </a:lnTo>
                <a:lnTo>
                  <a:pt x="760795" y="327006"/>
                </a:lnTo>
                <a:lnTo>
                  <a:pt x="768350" y="315302"/>
                </a:lnTo>
                <a:lnTo>
                  <a:pt x="613155" y="315302"/>
                </a:lnTo>
                <a:lnTo>
                  <a:pt x="603757" y="313893"/>
                </a:lnTo>
                <a:lnTo>
                  <a:pt x="603250" y="306374"/>
                </a:lnTo>
                <a:lnTo>
                  <a:pt x="612648" y="305435"/>
                </a:lnTo>
                <a:lnTo>
                  <a:pt x="765175" y="305435"/>
                </a:lnTo>
                <a:lnTo>
                  <a:pt x="779494" y="302586"/>
                </a:lnTo>
                <a:lnTo>
                  <a:pt x="792575" y="294979"/>
                </a:lnTo>
                <a:lnTo>
                  <a:pt x="803894" y="284025"/>
                </a:lnTo>
                <a:lnTo>
                  <a:pt x="812926" y="271132"/>
                </a:lnTo>
                <a:lnTo>
                  <a:pt x="635634" y="271132"/>
                </a:lnTo>
                <a:lnTo>
                  <a:pt x="626744" y="269722"/>
                </a:lnTo>
                <a:lnTo>
                  <a:pt x="626744" y="262204"/>
                </a:lnTo>
                <a:lnTo>
                  <a:pt x="635634" y="261264"/>
                </a:lnTo>
                <a:lnTo>
                  <a:pt x="814324" y="261264"/>
                </a:lnTo>
                <a:lnTo>
                  <a:pt x="827345" y="257820"/>
                </a:lnTo>
                <a:lnTo>
                  <a:pt x="839057" y="249223"/>
                </a:lnTo>
                <a:lnTo>
                  <a:pt x="848721" y="238070"/>
                </a:lnTo>
                <a:lnTo>
                  <a:pt x="855599" y="226961"/>
                </a:lnTo>
                <a:lnTo>
                  <a:pt x="659129" y="226961"/>
                </a:lnTo>
                <a:lnTo>
                  <a:pt x="649224" y="225552"/>
                </a:lnTo>
                <a:lnTo>
                  <a:pt x="649224" y="216623"/>
                </a:lnTo>
                <a:lnTo>
                  <a:pt x="659129" y="216154"/>
                </a:lnTo>
                <a:lnTo>
                  <a:pt x="858901" y="216154"/>
                </a:lnTo>
                <a:lnTo>
                  <a:pt x="870662" y="213312"/>
                </a:lnTo>
                <a:lnTo>
                  <a:pt x="881745" y="205757"/>
                </a:lnTo>
                <a:lnTo>
                  <a:pt x="891851" y="194942"/>
                </a:lnTo>
                <a:lnTo>
                  <a:pt x="900683" y="182321"/>
                </a:lnTo>
                <a:close/>
              </a:path>
              <a:path w="901065" h="563879">
                <a:moveTo>
                  <a:pt x="507110" y="220853"/>
                </a:moveTo>
                <a:lnTo>
                  <a:pt x="498175" y="235419"/>
                </a:lnTo>
                <a:lnTo>
                  <a:pt x="488203" y="248929"/>
                </a:lnTo>
                <a:lnTo>
                  <a:pt x="477017" y="261558"/>
                </a:lnTo>
                <a:lnTo>
                  <a:pt x="464438" y="273481"/>
                </a:lnTo>
                <a:lnTo>
                  <a:pt x="485411" y="269414"/>
                </a:lnTo>
                <a:lnTo>
                  <a:pt x="505348" y="262791"/>
                </a:lnTo>
                <a:lnTo>
                  <a:pt x="524071" y="253525"/>
                </a:lnTo>
                <a:lnTo>
                  <a:pt x="541401" y="241528"/>
                </a:lnTo>
                <a:lnTo>
                  <a:pt x="533578" y="235390"/>
                </a:lnTo>
                <a:lnTo>
                  <a:pt x="525113" y="229781"/>
                </a:lnTo>
                <a:lnTo>
                  <a:pt x="516219" y="224876"/>
                </a:lnTo>
                <a:lnTo>
                  <a:pt x="507110" y="220853"/>
                </a:lnTo>
                <a:close/>
              </a:path>
              <a:path w="901065" h="563879">
                <a:moveTo>
                  <a:pt x="455549" y="209575"/>
                </a:moveTo>
                <a:lnTo>
                  <a:pt x="455549" y="268312"/>
                </a:lnTo>
                <a:lnTo>
                  <a:pt x="467808" y="257262"/>
                </a:lnTo>
                <a:lnTo>
                  <a:pt x="479044" y="244759"/>
                </a:lnTo>
                <a:lnTo>
                  <a:pt x="488946" y="231110"/>
                </a:lnTo>
                <a:lnTo>
                  <a:pt x="497204" y="216623"/>
                </a:lnTo>
                <a:lnTo>
                  <a:pt x="487142" y="213738"/>
                </a:lnTo>
                <a:lnTo>
                  <a:pt x="476710" y="211513"/>
                </a:lnTo>
                <a:lnTo>
                  <a:pt x="466111" y="210082"/>
                </a:lnTo>
                <a:lnTo>
                  <a:pt x="455549" y="209575"/>
                </a:lnTo>
                <a:close/>
              </a:path>
              <a:path w="901065" h="563879">
                <a:moveTo>
                  <a:pt x="591057" y="141439"/>
                </a:moveTo>
                <a:lnTo>
                  <a:pt x="528701" y="141439"/>
                </a:lnTo>
                <a:lnTo>
                  <a:pt x="527159" y="159986"/>
                </a:lnTo>
                <a:lnTo>
                  <a:pt x="523986" y="177739"/>
                </a:lnTo>
                <a:lnTo>
                  <a:pt x="519074" y="194964"/>
                </a:lnTo>
                <a:lnTo>
                  <a:pt x="512317" y="211924"/>
                </a:lnTo>
                <a:lnTo>
                  <a:pt x="521968" y="216778"/>
                </a:lnTo>
                <a:lnTo>
                  <a:pt x="531320" y="222203"/>
                </a:lnTo>
                <a:lnTo>
                  <a:pt x="540410" y="228246"/>
                </a:lnTo>
                <a:lnTo>
                  <a:pt x="549275" y="234950"/>
                </a:lnTo>
                <a:lnTo>
                  <a:pt x="566322" y="214722"/>
                </a:lnTo>
                <a:lnTo>
                  <a:pt x="579167" y="191895"/>
                </a:lnTo>
                <a:lnTo>
                  <a:pt x="587511" y="167218"/>
                </a:lnTo>
                <a:lnTo>
                  <a:pt x="591057" y="141439"/>
                </a:lnTo>
                <a:close/>
              </a:path>
              <a:path w="901065" h="563879">
                <a:moveTo>
                  <a:pt x="517905" y="141439"/>
                </a:moveTo>
                <a:lnTo>
                  <a:pt x="455549" y="141439"/>
                </a:lnTo>
                <a:lnTo>
                  <a:pt x="455549" y="199237"/>
                </a:lnTo>
                <a:lnTo>
                  <a:pt x="467354" y="199905"/>
                </a:lnTo>
                <a:lnTo>
                  <a:pt x="479313" y="201763"/>
                </a:lnTo>
                <a:lnTo>
                  <a:pt x="491107" y="204590"/>
                </a:lnTo>
                <a:lnTo>
                  <a:pt x="502411" y="208165"/>
                </a:lnTo>
                <a:lnTo>
                  <a:pt x="509012" y="192056"/>
                </a:lnTo>
                <a:lnTo>
                  <a:pt x="513873" y="175507"/>
                </a:lnTo>
                <a:lnTo>
                  <a:pt x="516878" y="158605"/>
                </a:lnTo>
                <a:lnTo>
                  <a:pt x="517905" y="141439"/>
                </a:lnTo>
                <a:close/>
              </a:path>
              <a:path w="901065" h="563879">
                <a:moveTo>
                  <a:pt x="281431" y="182321"/>
                </a:moveTo>
                <a:lnTo>
                  <a:pt x="0" y="182321"/>
                </a:lnTo>
                <a:lnTo>
                  <a:pt x="8832" y="194942"/>
                </a:lnTo>
                <a:lnTo>
                  <a:pt x="18938" y="205757"/>
                </a:lnTo>
                <a:lnTo>
                  <a:pt x="30021" y="213312"/>
                </a:lnTo>
                <a:lnTo>
                  <a:pt x="41782" y="216154"/>
                </a:lnTo>
                <a:lnTo>
                  <a:pt x="241553" y="216154"/>
                </a:lnTo>
                <a:lnTo>
                  <a:pt x="251459" y="216623"/>
                </a:lnTo>
                <a:lnTo>
                  <a:pt x="251459" y="225552"/>
                </a:lnTo>
                <a:lnTo>
                  <a:pt x="241553" y="226961"/>
                </a:lnTo>
                <a:lnTo>
                  <a:pt x="45084" y="226961"/>
                </a:lnTo>
                <a:lnTo>
                  <a:pt x="51962" y="238070"/>
                </a:lnTo>
                <a:lnTo>
                  <a:pt x="61626" y="249223"/>
                </a:lnTo>
                <a:lnTo>
                  <a:pt x="73338" y="257820"/>
                </a:lnTo>
                <a:lnTo>
                  <a:pt x="86359" y="261264"/>
                </a:lnTo>
                <a:lnTo>
                  <a:pt x="265049" y="261264"/>
                </a:lnTo>
                <a:lnTo>
                  <a:pt x="273938" y="262204"/>
                </a:lnTo>
                <a:lnTo>
                  <a:pt x="273938" y="269722"/>
                </a:lnTo>
                <a:lnTo>
                  <a:pt x="265049" y="271132"/>
                </a:lnTo>
                <a:lnTo>
                  <a:pt x="87756" y="271132"/>
                </a:lnTo>
                <a:lnTo>
                  <a:pt x="96789" y="284025"/>
                </a:lnTo>
                <a:lnTo>
                  <a:pt x="108108" y="294979"/>
                </a:lnTo>
                <a:lnTo>
                  <a:pt x="121189" y="302586"/>
                </a:lnTo>
                <a:lnTo>
                  <a:pt x="135508" y="305435"/>
                </a:lnTo>
                <a:lnTo>
                  <a:pt x="288035" y="305435"/>
                </a:lnTo>
                <a:lnTo>
                  <a:pt x="297433" y="306374"/>
                </a:lnTo>
                <a:lnTo>
                  <a:pt x="296925" y="313893"/>
                </a:lnTo>
                <a:lnTo>
                  <a:pt x="287527" y="315302"/>
                </a:lnTo>
                <a:lnTo>
                  <a:pt x="132333" y="315302"/>
                </a:lnTo>
                <a:lnTo>
                  <a:pt x="139888" y="327006"/>
                </a:lnTo>
                <a:lnTo>
                  <a:pt x="150955" y="338093"/>
                </a:lnTo>
                <a:lnTo>
                  <a:pt x="164998" y="346360"/>
                </a:lnTo>
                <a:lnTo>
                  <a:pt x="181482" y="349605"/>
                </a:lnTo>
                <a:lnTo>
                  <a:pt x="334009" y="349605"/>
                </a:lnTo>
                <a:lnTo>
                  <a:pt x="354980" y="345780"/>
                </a:lnTo>
                <a:lnTo>
                  <a:pt x="373856" y="335567"/>
                </a:lnTo>
                <a:lnTo>
                  <a:pt x="388874" y="320860"/>
                </a:lnTo>
                <a:lnTo>
                  <a:pt x="398272" y="303555"/>
                </a:lnTo>
                <a:lnTo>
                  <a:pt x="351583" y="279392"/>
                </a:lnTo>
                <a:lnTo>
                  <a:pt x="317182" y="250867"/>
                </a:lnTo>
                <a:lnTo>
                  <a:pt x="294116" y="218378"/>
                </a:lnTo>
                <a:lnTo>
                  <a:pt x="281431" y="182321"/>
                </a:lnTo>
                <a:close/>
              </a:path>
              <a:path w="901065" h="563879">
                <a:moveTo>
                  <a:pt x="393573" y="220853"/>
                </a:moveTo>
                <a:lnTo>
                  <a:pt x="384530" y="224744"/>
                </a:lnTo>
                <a:lnTo>
                  <a:pt x="375713" y="229781"/>
                </a:lnTo>
                <a:lnTo>
                  <a:pt x="367158" y="235522"/>
                </a:lnTo>
                <a:lnTo>
                  <a:pt x="358901" y="241528"/>
                </a:lnTo>
                <a:lnTo>
                  <a:pt x="376237" y="253525"/>
                </a:lnTo>
                <a:lnTo>
                  <a:pt x="395096" y="262791"/>
                </a:lnTo>
                <a:lnTo>
                  <a:pt x="415194" y="269414"/>
                </a:lnTo>
                <a:lnTo>
                  <a:pt x="436244" y="273481"/>
                </a:lnTo>
                <a:lnTo>
                  <a:pt x="423666" y="261558"/>
                </a:lnTo>
                <a:lnTo>
                  <a:pt x="412480" y="248929"/>
                </a:lnTo>
                <a:lnTo>
                  <a:pt x="402508" y="235419"/>
                </a:lnTo>
                <a:lnTo>
                  <a:pt x="393573" y="220853"/>
                </a:lnTo>
                <a:close/>
              </a:path>
              <a:path w="901065" h="563879">
                <a:moveTo>
                  <a:pt x="445642" y="209575"/>
                </a:moveTo>
                <a:lnTo>
                  <a:pt x="434786" y="210015"/>
                </a:lnTo>
                <a:lnTo>
                  <a:pt x="424037" y="211337"/>
                </a:lnTo>
                <a:lnTo>
                  <a:pt x="413549" y="213540"/>
                </a:lnTo>
                <a:lnTo>
                  <a:pt x="403478" y="216623"/>
                </a:lnTo>
                <a:lnTo>
                  <a:pt x="411745" y="231095"/>
                </a:lnTo>
                <a:lnTo>
                  <a:pt x="421703" y="244641"/>
                </a:lnTo>
                <a:lnTo>
                  <a:pt x="433089" y="256866"/>
                </a:lnTo>
                <a:lnTo>
                  <a:pt x="445642" y="267373"/>
                </a:lnTo>
                <a:lnTo>
                  <a:pt x="445642" y="209575"/>
                </a:lnTo>
                <a:close/>
              </a:path>
              <a:path w="901065" h="563879">
                <a:moveTo>
                  <a:pt x="371982" y="141439"/>
                </a:moveTo>
                <a:lnTo>
                  <a:pt x="309625" y="141439"/>
                </a:lnTo>
                <a:lnTo>
                  <a:pt x="313386" y="167614"/>
                </a:lnTo>
                <a:lnTo>
                  <a:pt x="321711" y="192255"/>
                </a:lnTo>
                <a:lnTo>
                  <a:pt x="334432" y="214854"/>
                </a:lnTo>
                <a:lnTo>
                  <a:pt x="351408" y="234950"/>
                </a:lnTo>
                <a:lnTo>
                  <a:pt x="360281" y="228246"/>
                </a:lnTo>
                <a:lnTo>
                  <a:pt x="369427" y="222203"/>
                </a:lnTo>
                <a:lnTo>
                  <a:pt x="378930" y="216778"/>
                </a:lnTo>
                <a:lnTo>
                  <a:pt x="388874" y="211924"/>
                </a:lnTo>
                <a:lnTo>
                  <a:pt x="382305" y="194766"/>
                </a:lnTo>
                <a:lnTo>
                  <a:pt x="377285" y="177563"/>
                </a:lnTo>
                <a:lnTo>
                  <a:pt x="373836" y="159920"/>
                </a:lnTo>
                <a:lnTo>
                  <a:pt x="371982" y="141439"/>
                </a:lnTo>
                <a:close/>
              </a:path>
              <a:path w="901065" h="563879">
                <a:moveTo>
                  <a:pt x="445642" y="141439"/>
                </a:moveTo>
                <a:lnTo>
                  <a:pt x="382777" y="141439"/>
                </a:lnTo>
                <a:lnTo>
                  <a:pt x="384020" y="158672"/>
                </a:lnTo>
                <a:lnTo>
                  <a:pt x="387000" y="175683"/>
                </a:lnTo>
                <a:lnTo>
                  <a:pt x="391743" y="192255"/>
                </a:lnTo>
                <a:lnTo>
                  <a:pt x="398272" y="208165"/>
                </a:lnTo>
                <a:lnTo>
                  <a:pt x="409692" y="204590"/>
                </a:lnTo>
                <a:lnTo>
                  <a:pt x="421433" y="201763"/>
                </a:lnTo>
                <a:lnTo>
                  <a:pt x="433437" y="199905"/>
                </a:lnTo>
                <a:lnTo>
                  <a:pt x="445642" y="199237"/>
                </a:lnTo>
                <a:lnTo>
                  <a:pt x="445642" y="141439"/>
                </a:lnTo>
                <a:close/>
              </a:path>
              <a:path w="901065" h="563879">
                <a:moveTo>
                  <a:pt x="502411" y="65316"/>
                </a:moveTo>
                <a:lnTo>
                  <a:pt x="490999" y="68825"/>
                </a:lnTo>
                <a:lnTo>
                  <a:pt x="479313" y="71542"/>
                </a:lnTo>
                <a:lnTo>
                  <a:pt x="467461" y="73377"/>
                </a:lnTo>
                <a:lnTo>
                  <a:pt x="455549" y="74244"/>
                </a:lnTo>
                <a:lnTo>
                  <a:pt x="455549" y="131572"/>
                </a:lnTo>
                <a:lnTo>
                  <a:pt x="517905" y="131572"/>
                </a:lnTo>
                <a:lnTo>
                  <a:pt x="516878" y="114479"/>
                </a:lnTo>
                <a:lnTo>
                  <a:pt x="513873" y="97739"/>
                </a:lnTo>
                <a:lnTo>
                  <a:pt x="509012" y="81351"/>
                </a:lnTo>
                <a:lnTo>
                  <a:pt x="502411" y="65316"/>
                </a:lnTo>
                <a:close/>
              </a:path>
              <a:path w="901065" h="563879">
                <a:moveTo>
                  <a:pt x="549275" y="38531"/>
                </a:moveTo>
                <a:lnTo>
                  <a:pt x="540625" y="45235"/>
                </a:lnTo>
                <a:lnTo>
                  <a:pt x="531510" y="51277"/>
                </a:lnTo>
                <a:lnTo>
                  <a:pt x="522039" y="56703"/>
                </a:lnTo>
                <a:lnTo>
                  <a:pt x="512317" y="61556"/>
                </a:lnTo>
                <a:lnTo>
                  <a:pt x="518860" y="78311"/>
                </a:lnTo>
                <a:lnTo>
                  <a:pt x="523795" y="95507"/>
                </a:lnTo>
                <a:lnTo>
                  <a:pt x="527087" y="113231"/>
                </a:lnTo>
                <a:lnTo>
                  <a:pt x="528701" y="131572"/>
                </a:lnTo>
                <a:lnTo>
                  <a:pt x="591057" y="131572"/>
                </a:lnTo>
                <a:lnTo>
                  <a:pt x="587708" y="106263"/>
                </a:lnTo>
                <a:lnTo>
                  <a:pt x="579691" y="82056"/>
                </a:lnTo>
                <a:lnTo>
                  <a:pt x="566912" y="59346"/>
                </a:lnTo>
                <a:lnTo>
                  <a:pt x="549275" y="38531"/>
                </a:lnTo>
                <a:close/>
              </a:path>
              <a:path w="901065" h="563879">
                <a:moveTo>
                  <a:pt x="455549" y="5638"/>
                </a:moveTo>
                <a:lnTo>
                  <a:pt x="455549" y="64376"/>
                </a:lnTo>
                <a:lnTo>
                  <a:pt x="466111" y="63788"/>
                </a:lnTo>
                <a:lnTo>
                  <a:pt x="476710" y="62144"/>
                </a:lnTo>
                <a:lnTo>
                  <a:pt x="487142" y="59618"/>
                </a:lnTo>
                <a:lnTo>
                  <a:pt x="497204" y="56388"/>
                </a:lnTo>
                <a:lnTo>
                  <a:pt x="488946" y="42246"/>
                </a:lnTo>
                <a:lnTo>
                  <a:pt x="479044" y="28898"/>
                </a:lnTo>
                <a:lnTo>
                  <a:pt x="467808" y="16608"/>
                </a:lnTo>
                <a:lnTo>
                  <a:pt x="455549" y="5638"/>
                </a:lnTo>
                <a:close/>
              </a:path>
              <a:path w="901065" h="563879">
                <a:moveTo>
                  <a:pt x="464438" y="0"/>
                </a:moveTo>
                <a:lnTo>
                  <a:pt x="477017" y="11864"/>
                </a:lnTo>
                <a:lnTo>
                  <a:pt x="488203" y="24434"/>
                </a:lnTo>
                <a:lnTo>
                  <a:pt x="498175" y="38061"/>
                </a:lnTo>
                <a:lnTo>
                  <a:pt x="507110" y="53098"/>
                </a:lnTo>
                <a:lnTo>
                  <a:pt x="516219" y="48994"/>
                </a:lnTo>
                <a:lnTo>
                  <a:pt x="525113" y="43876"/>
                </a:lnTo>
                <a:lnTo>
                  <a:pt x="533578" y="37966"/>
                </a:lnTo>
                <a:lnTo>
                  <a:pt x="541401" y="31483"/>
                </a:lnTo>
                <a:lnTo>
                  <a:pt x="524071" y="19691"/>
                </a:lnTo>
                <a:lnTo>
                  <a:pt x="505348" y="10455"/>
                </a:lnTo>
                <a:lnTo>
                  <a:pt x="485411" y="3861"/>
                </a:lnTo>
                <a:lnTo>
                  <a:pt x="464438" y="0"/>
                </a:lnTo>
                <a:close/>
              </a:path>
              <a:path w="901065" h="563879">
                <a:moveTo>
                  <a:pt x="351408" y="38531"/>
                </a:moveTo>
                <a:lnTo>
                  <a:pt x="334218" y="58818"/>
                </a:lnTo>
                <a:lnTo>
                  <a:pt x="321516" y="81351"/>
                </a:lnTo>
                <a:lnTo>
                  <a:pt x="313314" y="105734"/>
                </a:lnTo>
                <a:lnTo>
                  <a:pt x="309625" y="131572"/>
                </a:lnTo>
                <a:lnTo>
                  <a:pt x="371982" y="131572"/>
                </a:lnTo>
                <a:lnTo>
                  <a:pt x="373836" y="113297"/>
                </a:lnTo>
                <a:lnTo>
                  <a:pt x="377285" y="95683"/>
                </a:lnTo>
                <a:lnTo>
                  <a:pt x="382305" y="78510"/>
                </a:lnTo>
                <a:lnTo>
                  <a:pt x="388874" y="61556"/>
                </a:lnTo>
                <a:lnTo>
                  <a:pt x="378930" y="56769"/>
                </a:lnTo>
                <a:lnTo>
                  <a:pt x="369427" y="51454"/>
                </a:lnTo>
                <a:lnTo>
                  <a:pt x="360281" y="45433"/>
                </a:lnTo>
                <a:lnTo>
                  <a:pt x="351408" y="38531"/>
                </a:lnTo>
                <a:close/>
              </a:path>
              <a:path w="901065" h="563879">
                <a:moveTo>
                  <a:pt x="398272" y="65316"/>
                </a:moveTo>
                <a:lnTo>
                  <a:pt x="391743" y="81219"/>
                </a:lnTo>
                <a:lnTo>
                  <a:pt x="387000" y="97739"/>
                </a:lnTo>
                <a:lnTo>
                  <a:pt x="384020" y="114611"/>
                </a:lnTo>
                <a:lnTo>
                  <a:pt x="382777" y="131572"/>
                </a:lnTo>
                <a:lnTo>
                  <a:pt x="445642" y="131572"/>
                </a:lnTo>
                <a:lnTo>
                  <a:pt x="445642" y="74244"/>
                </a:lnTo>
                <a:lnTo>
                  <a:pt x="433437" y="73377"/>
                </a:lnTo>
                <a:lnTo>
                  <a:pt x="421433" y="71542"/>
                </a:lnTo>
                <a:lnTo>
                  <a:pt x="409692" y="68825"/>
                </a:lnTo>
                <a:lnTo>
                  <a:pt x="398272" y="65316"/>
                </a:lnTo>
                <a:close/>
              </a:path>
              <a:path w="901065" h="563879">
                <a:moveTo>
                  <a:pt x="445642" y="5638"/>
                </a:moveTo>
                <a:lnTo>
                  <a:pt x="433089" y="16674"/>
                </a:lnTo>
                <a:lnTo>
                  <a:pt x="421703" y="29075"/>
                </a:lnTo>
                <a:lnTo>
                  <a:pt x="411745" y="42445"/>
                </a:lnTo>
                <a:lnTo>
                  <a:pt x="403478" y="56388"/>
                </a:lnTo>
                <a:lnTo>
                  <a:pt x="413549" y="59420"/>
                </a:lnTo>
                <a:lnTo>
                  <a:pt x="424037" y="61968"/>
                </a:lnTo>
                <a:lnTo>
                  <a:pt x="434786" y="63722"/>
                </a:lnTo>
                <a:lnTo>
                  <a:pt x="445642" y="64376"/>
                </a:lnTo>
                <a:lnTo>
                  <a:pt x="445642" y="5638"/>
                </a:lnTo>
                <a:close/>
              </a:path>
              <a:path w="901065" h="563879">
                <a:moveTo>
                  <a:pt x="436244" y="0"/>
                </a:moveTo>
                <a:lnTo>
                  <a:pt x="415266" y="3861"/>
                </a:lnTo>
                <a:lnTo>
                  <a:pt x="395287" y="10455"/>
                </a:lnTo>
                <a:lnTo>
                  <a:pt x="376451" y="19691"/>
                </a:lnTo>
                <a:lnTo>
                  <a:pt x="358901" y="31483"/>
                </a:lnTo>
                <a:lnTo>
                  <a:pt x="367087" y="37966"/>
                </a:lnTo>
                <a:lnTo>
                  <a:pt x="375523" y="43876"/>
                </a:lnTo>
                <a:lnTo>
                  <a:pt x="384315" y="48994"/>
                </a:lnTo>
                <a:lnTo>
                  <a:pt x="393573" y="53098"/>
                </a:lnTo>
                <a:lnTo>
                  <a:pt x="402365" y="38194"/>
                </a:lnTo>
                <a:lnTo>
                  <a:pt x="412480" y="24434"/>
                </a:lnTo>
                <a:lnTo>
                  <a:pt x="423808" y="11732"/>
                </a:lnTo>
                <a:lnTo>
                  <a:pt x="436244" y="0"/>
                </a:lnTo>
                <a:close/>
              </a:path>
              <a:path w="901065" h="563879">
                <a:moveTo>
                  <a:pt x="545591" y="429488"/>
                </a:moveTo>
                <a:lnTo>
                  <a:pt x="486917" y="429488"/>
                </a:lnTo>
                <a:lnTo>
                  <a:pt x="466343" y="563880"/>
                </a:lnTo>
                <a:lnTo>
                  <a:pt x="525399" y="563880"/>
                </a:lnTo>
                <a:lnTo>
                  <a:pt x="545591" y="429488"/>
                </a:lnTo>
                <a:close/>
              </a:path>
              <a:path w="901065" h="563879">
                <a:moveTo>
                  <a:pt x="733170" y="384848"/>
                </a:moveTo>
                <a:lnTo>
                  <a:pt x="674115" y="384848"/>
                </a:lnTo>
                <a:lnTo>
                  <a:pt x="584073" y="563880"/>
                </a:lnTo>
                <a:lnTo>
                  <a:pt x="643127" y="563880"/>
                </a:lnTo>
                <a:lnTo>
                  <a:pt x="653033" y="542734"/>
                </a:lnTo>
                <a:lnTo>
                  <a:pt x="766322" y="542734"/>
                </a:lnTo>
                <a:lnTo>
                  <a:pt x="758429" y="505142"/>
                </a:lnTo>
                <a:lnTo>
                  <a:pt x="667511" y="505142"/>
                </a:lnTo>
                <a:lnTo>
                  <a:pt x="695705" y="439826"/>
                </a:lnTo>
                <a:lnTo>
                  <a:pt x="744714" y="439826"/>
                </a:lnTo>
                <a:lnTo>
                  <a:pt x="733170" y="384848"/>
                </a:lnTo>
                <a:close/>
              </a:path>
              <a:path w="901065" h="563879">
                <a:moveTo>
                  <a:pt x="766322" y="542734"/>
                </a:moveTo>
                <a:lnTo>
                  <a:pt x="712088" y="542734"/>
                </a:lnTo>
                <a:lnTo>
                  <a:pt x="714501" y="563880"/>
                </a:lnTo>
                <a:lnTo>
                  <a:pt x="770762" y="563880"/>
                </a:lnTo>
                <a:lnTo>
                  <a:pt x="766322" y="542734"/>
                </a:lnTo>
                <a:close/>
              </a:path>
              <a:path w="901065" h="563879">
                <a:moveTo>
                  <a:pt x="744714" y="439826"/>
                </a:moveTo>
                <a:lnTo>
                  <a:pt x="695705" y="439826"/>
                </a:lnTo>
                <a:lnTo>
                  <a:pt x="705484" y="505142"/>
                </a:lnTo>
                <a:lnTo>
                  <a:pt x="758429" y="505142"/>
                </a:lnTo>
                <a:lnTo>
                  <a:pt x="744714" y="439826"/>
                </a:lnTo>
                <a:close/>
              </a:path>
              <a:path w="901065" h="563879">
                <a:moveTo>
                  <a:pt x="604647" y="383908"/>
                </a:moveTo>
                <a:lnTo>
                  <a:pt x="443737" y="383908"/>
                </a:lnTo>
                <a:lnTo>
                  <a:pt x="434848" y="429488"/>
                </a:lnTo>
                <a:lnTo>
                  <a:pt x="595249" y="429488"/>
                </a:lnTo>
                <a:lnTo>
                  <a:pt x="604647" y="383908"/>
                </a:lnTo>
                <a:close/>
              </a:path>
              <a:path w="901065" h="563879">
                <a:moveTo>
                  <a:pt x="224662" y="384848"/>
                </a:moveTo>
                <a:lnTo>
                  <a:pt x="164718" y="384848"/>
                </a:lnTo>
                <a:lnTo>
                  <a:pt x="128015" y="563880"/>
                </a:lnTo>
                <a:lnTo>
                  <a:pt x="188086" y="563880"/>
                </a:lnTo>
                <a:lnTo>
                  <a:pt x="224662" y="384848"/>
                </a:lnTo>
                <a:close/>
              </a:path>
              <a:path w="901065" h="563879">
                <a:moveTo>
                  <a:pt x="374395" y="384848"/>
                </a:moveTo>
                <a:lnTo>
                  <a:pt x="315213" y="384848"/>
                </a:lnTo>
                <a:lnTo>
                  <a:pt x="224662" y="563880"/>
                </a:lnTo>
                <a:lnTo>
                  <a:pt x="284225" y="563880"/>
                </a:lnTo>
                <a:lnTo>
                  <a:pt x="293624" y="542734"/>
                </a:lnTo>
                <a:lnTo>
                  <a:pt x="406988" y="542734"/>
                </a:lnTo>
                <a:lnTo>
                  <a:pt x="399227" y="505142"/>
                </a:lnTo>
                <a:lnTo>
                  <a:pt x="308228" y="505142"/>
                </a:lnTo>
                <a:lnTo>
                  <a:pt x="336295" y="439826"/>
                </a:lnTo>
                <a:lnTo>
                  <a:pt x="385744" y="439826"/>
                </a:lnTo>
                <a:lnTo>
                  <a:pt x="374395" y="384848"/>
                </a:lnTo>
                <a:close/>
              </a:path>
              <a:path w="901065" h="563879">
                <a:moveTo>
                  <a:pt x="406988" y="542734"/>
                </a:moveTo>
                <a:lnTo>
                  <a:pt x="352805" y="542734"/>
                </a:lnTo>
                <a:lnTo>
                  <a:pt x="356107" y="563880"/>
                </a:lnTo>
                <a:lnTo>
                  <a:pt x="411352" y="563880"/>
                </a:lnTo>
                <a:lnTo>
                  <a:pt x="406988" y="542734"/>
                </a:lnTo>
                <a:close/>
              </a:path>
              <a:path w="901065" h="563879">
                <a:moveTo>
                  <a:pt x="385744" y="439826"/>
                </a:moveTo>
                <a:lnTo>
                  <a:pt x="336295" y="439826"/>
                </a:lnTo>
                <a:lnTo>
                  <a:pt x="346709" y="505142"/>
                </a:lnTo>
                <a:lnTo>
                  <a:pt x="399227" y="505142"/>
                </a:lnTo>
                <a:lnTo>
                  <a:pt x="385744" y="439826"/>
                </a:lnTo>
                <a:close/>
              </a:path>
            </a:pathLst>
          </a:custGeom>
          <a:solidFill>
            <a:srgbClr val="1E31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0" y="4596384"/>
            <a:ext cx="16764" cy="171754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10910316" y="5917691"/>
            <a:ext cx="901065" cy="563880"/>
          </a:xfrm>
          <a:custGeom>
            <a:avLst/>
            <a:gdLst/>
            <a:ahLst/>
            <a:cxnLst/>
            <a:rect l="l" t="t" r="r" b="b"/>
            <a:pathLst>
              <a:path w="901065" h="563879">
                <a:moveTo>
                  <a:pt x="900683" y="182321"/>
                </a:moveTo>
                <a:lnTo>
                  <a:pt x="619251" y="182321"/>
                </a:lnTo>
                <a:lnTo>
                  <a:pt x="606567" y="218378"/>
                </a:lnTo>
                <a:lnTo>
                  <a:pt x="583501" y="250867"/>
                </a:lnTo>
                <a:lnTo>
                  <a:pt x="549100" y="279392"/>
                </a:lnTo>
                <a:lnTo>
                  <a:pt x="502411" y="303555"/>
                </a:lnTo>
                <a:lnTo>
                  <a:pt x="511809" y="320860"/>
                </a:lnTo>
                <a:lnTo>
                  <a:pt x="526827" y="335567"/>
                </a:lnTo>
                <a:lnTo>
                  <a:pt x="545703" y="345780"/>
                </a:lnTo>
                <a:lnTo>
                  <a:pt x="566674" y="349605"/>
                </a:lnTo>
                <a:lnTo>
                  <a:pt x="719201" y="349605"/>
                </a:lnTo>
                <a:lnTo>
                  <a:pt x="735685" y="346360"/>
                </a:lnTo>
                <a:lnTo>
                  <a:pt x="749728" y="338093"/>
                </a:lnTo>
                <a:lnTo>
                  <a:pt x="760795" y="327006"/>
                </a:lnTo>
                <a:lnTo>
                  <a:pt x="768350" y="315302"/>
                </a:lnTo>
                <a:lnTo>
                  <a:pt x="613155" y="315302"/>
                </a:lnTo>
                <a:lnTo>
                  <a:pt x="603757" y="313893"/>
                </a:lnTo>
                <a:lnTo>
                  <a:pt x="603250" y="306374"/>
                </a:lnTo>
                <a:lnTo>
                  <a:pt x="612648" y="305435"/>
                </a:lnTo>
                <a:lnTo>
                  <a:pt x="765175" y="305435"/>
                </a:lnTo>
                <a:lnTo>
                  <a:pt x="779494" y="302586"/>
                </a:lnTo>
                <a:lnTo>
                  <a:pt x="792575" y="294979"/>
                </a:lnTo>
                <a:lnTo>
                  <a:pt x="803894" y="284025"/>
                </a:lnTo>
                <a:lnTo>
                  <a:pt x="812926" y="271132"/>
                </a:lnTo>
                <a:lnTo>
                  <a:pt x="635634" y="271132"/>
                </a:lnTo>
                <a:lnTo>
                  <a:pt x="626744" y="269722"/>
                </a:lnTo>
                <a:lnTo>
                  <a:pt x="626744" y="262204"/>
                </a:lnTo>
                <a:lnTo>
                  <a:pt x="635634" y="261264"/>
                </a:lnTo>
                <a:lnTo>
                  <a:pt x="814324" y="261264"/>
                </a:lnTo>
                <a:lnTo>
                  <a:pt x="827345" y="257820"/>
                </a:lnTo>
                <a:lnTo>
                  <a:pt x="839057" y="249223"/>
                </a:lnTo>
                <a:lnTo>
                  <a:pt x="848721" y="238070"/>
                </a:lnTo>
                <a:lnTo>
                  <a:pt x="855599" y="226961"/>
                </a:lnTo>
                <a:lnTo>
                  <a:pt x="659129" y="226961"/>
                </a:lnTo>
                <a:lnTo>
                  <a:pt x="649224" y="225552"/>
                </a:lnTo>
                <a:lnTo>
                  <a:pt x="649224" y="216623"/>
                </a:lnTo>
                <a:lnTo>
                  <a:pt x="659129" y="216154"/>
                </a:lnTo>
                <a:lnTo>
                  <a:pt x="858901" y="216154"/>
                </a:lnTo>
                <a:lnTo>
                  <a:pt x="870662" y="213312"/>
                </a:lnTo>
                <a:lnTo>
                  <a:pt x="881745" y="205757"/>
                </a:lnTo>
                <a:lnTo>
                  <a:pt x="891851" y="194942"/>
                </a:lnTo>
                <a:lnTo>
                  <a:pt x="900683" y="182321"/>
                </a:lnTo>
                <a:close/>
              </a:path>
              <a:path w="901065" h="563879">
                <a:moveTo>
                  <a:pt x="507110" y="220853"/>
                </a:moveTo>
                <a:lnTo>
                  <a:pt x="498175" y="235419"/>
                </a:lnTo>
                <a:lnTo>
                  <a:pt x="488203" y="248929"/>
                </a:lnTo>
                <a:lnTo>
                  <a:pt x="477017" y="261558"/>
                </a:lnTo>
                <a:lnTo>
                  <a:pt x="464438" y="273481"/>
                </a:lnTo>
                <a:lnTo>
                  <a:pt x="485411" y="269414"/>
                </a:lnTo>
                <a:lnTo>
                  <a:pt x="505348" y="262791"/>
                </a:lnTo>
                <a:lnTo>
                  <a:pt x="524071" y="253525"/>
                </a:lnTo>
                <a:lnTo>
                  <a:pt x="541401" y="241528"/>
                </a:lnTo>
                <a:lnTo>
                  <a:pt x="533578" y="235390"/>
                </a:lnTo>
                <a:lnTo>
                  <a:pt x="525113" y="229781"/>
                </a:lnTo>
                <a:lnTo>
                  <a:pt x="516219" y="224876"/>
                </a:lnTo>
                <a:lnTo>
                  <a:pt x="507110" y="220853"/>
                </a:lnTo>
                <a:close/>
              </a:path>
              <a:path w="901065" h="563879">
                <a:moveTo>
                  <a:pt x="455549" y="209575"/>
                </a:moveTo>
                <a:lnTo>
                  <a:pt x="455549" y="268312"/>
                </a:lnTo>
                <a:lnTo>
                  <a:pt x="467808" y="257262"/>
                </a:lnTo>
                <a:lnTo>
                  <a:pt x="479044" y="244759"/>
                </a:lnTo>
                <a:lnTo>
                  <a:pt x="488946" y="231110"/>
                </a:lnTo>
                <a:lnTo>
                  <a:pt x="497204" y="216623"/>
                </a:lnTo>
                <a:lnTo>
                  <a:pt x="487142" y="213738"/>
                </a:lnTo>
                <a:lnTo>
                  <a:pt x="476710" y="211513"/>
                </a:lnTo>
                <a:lnTo>
                  <a:pt x="466111" y="210082"/>
                </a:lnTo>
                <a:lnTo>
                  <a:pt x="455549" y="209575"/>
                </a:lnTo>
                <a:close/>
              </a:path>
              <a:path w="901065" h="563879">
                <a:moveTo>
                  <a:pt x="591057" y="141439"/>
                </a:moveTo>
                <a:lnTo>
                  <a:pt x="528701" y="141439"/>
                </a:lnTo>
                <a:lnTo>
                  <a:pt x="527159" y="159986"/>
                </a:lnTo>
                <a:lnTo>
                  <a:pt x="523986" y="177739"/>
                </a:lnTo>
                <a:lnTo>
                  <a:pt x="519074" y="194964"/>
                </a:lnTo>
                <a:lnTo>
                  <a:pt x="512317" y="211924"/>
                </a:lnTo>
                <a:lnTo>
                  <a:pt x="521968" y="216778"/>
                </a:lnTo>
                <a:lnTo>
                  <a:pt x="531320" y="222203"/>
                </a:lnTo>
                <a:lnTo>
                  <a:pt x="540410" y="228246"/>
                </a:lnTo>
                <a:lnTo>
                  <a:pt x="549275" y="234950"/>
                </a:lnTo>
                <a:lnTo>
                  <a:pt x="566322" y="214722"/>
                </a:lnTo>
                <a:lnTo>
                  <a:pt x="579167" y="191895"/>
                </a:lnTo>
                <a:lnTo>
                  <a:pt x="587511" y="167218"/>
                </a:lnTo>
                <a:lnTo>
                  <a:pt x="591057" y="141439"/>
                </a:lnTo>
                <a:close/>
              </a:path>
              <a:path w="901065" h="563879">
                <a:moveTo>
                  <a:pt x="517905" y="141439"/>
                </a:moveTo>
                <a:lnTo>
                  <a:pt x="455549" y="141439"/>
                </a:lnTo>
                <a:lnTo>
                  <a:pt x="455549" y="199237"/>
                </a:lnTo>
                <a:lnTo>
                  <a:pt x="467354" y="199905"/>
                </a:lnTo>
                <a:lnTo>
                  <a:pt x="479313" y="201763"/>
                </a:lnTo>
                <a:lnTo>
                  <a:pt x="491107" y="204590"/>
                </a:lnTo>
                <a:lnTo>
                  <a:pt x="502411" y="208165"/>
                </a:lnTo>
                <a:lnTo>
                  <a:pt x="509012" y="192056"/>
                </a:lnTo>
                <a:lnTo>
                  <a:pt x="513873" y="175507"/>
                </a:lnTo>
                <a:lnTo>
                  <a:pt x="516878" y="158605"/>
                </a:lnTo>
                <a:lnTo>
                  <a:pt x="517905" y="141439"/>
                </a:lnTo>
                <a:close/>
              </a:path>
              <a:path w="901065" h="563879">
                <a:moveTo>
                  <a:pt x="281431" y="182321"/>
                </a:moveTo>
                <a:lnTo>
                  <a:pt x="0" y="182321"/>
                </a:lnTo>
                <a:lnTo>
                  <a:pt x="8832" y="194942"/>
                </a:lnTo>
                <a:lnTo>
                  <a:pt x="18938" y="205757"/>
                </a:lnTo>
                <a:lnTo>
                  <a:pt x="30021" y="213312"/>
                </a:lnTo>
                <a:lnTo>
                  <a:pt x="41782" y="216154"/>
                </a:lnTo>
                <a:lnTo>
                  <a:pt x="241553" y="216154"/>
                </a:lnTo>
                <a:lnTo>
                  <a:pt x="251459" y="216623"/>
                </a:lnTo>
                <a:lnTo>
                  <a:pt x="251459" y="225552"/>
                </a:lnTo>
                <a:lnTo>
                  <a:pt x="241553" y="226961"/>
                </a:lnTo>
                <a:lnTo>
                  <a:pt x="45084" y="226961"/>
                </a:lnTo>
                <a:lnTo>
                  <a:pt x="51962" y="238070"/>
                </a:lnTo>
                <a:lnTo>
                  <a:pt x="61626" y="249223"/>
                </a:lnTo>
                <a:lnTo>
                  <a:pt x="73338" y="257820"/>
                </a:lnTo>
                <a:lnTo>
                  <a:pt x="86359" y="261264"/>
                </a:lnTo>
                <a:lnTo>
                  <a:pt x="265049" y="261264"/>
                </a:lnTo>
                <a:lnTo>
                  <a:pt x="273938" y="262204"/>
                </a:lnTo>
                <a:lnTo>
                  <a:pt x="273938" y="269722"/>
                </a:lnTo>
                <a:lnTo>
                  <a:pt x="265049" y="271132"/>
                </a:lnTo>
                <a:lnTo>
                  <a:pt x="87756" y="271132"/>
                </a:lnTo>
                <a:lnTo>
                  <a:pt x="96789" y="284025"/>
                </a:lnTo>
                <a:lnTo>
                  <a:pt x="108108" y="294979"/>
                </a:lnTo>
                <a:lnTo>
                  <a:pt x="121189" y="302586"/>
                </a:lnTo>
                <a:lnTo>
                  <a:pt x="135508" y="305435"/>
                </a:lnTo>
                <a:lnTo>
                  <a:pt x="288035" y="305435"/>
                </a:lnTo>
                <a:lnTo>
                  <a:pt x="297433" y="306374"/>
                </a:lnTo>
                <a:lnTo>
                  <a:pt x="296925" y="313893"/>
                </a:lnTo>
                <a:lnTo>
                  <a:pt x="287527" y="315302"/>
                </a:lnTo>
                <a:lnTo>
                  <a:pt x="132333" y="315302"/>
                </a:lnTo>
                <a:lnTo>
                  <a:pt x="139888" y="327006"/>
                </a:lnTo>
                <a:lnTo>
                  <a:pt x="150955" y="338093"/>
                </a:lnTo>
                <a:lnTo>
                  <a:pt x="164998" y="346360"/>
                </a:lnTo>
                <a:lnTo>
                  <a:pt x="181482" y="349605"/>
                </a:lnTo>
                <a:lnTo>
                  <a:pt x="334009" y="349605"/>
                </a:lnTo>
                <a:lnTo>
                  <a:pt x="354980" y="345780"/>
                </a:lnTo>
                <a:lnTo>
                  <a:pt x="373856" y="335567"/>
                </a:lnTo>
                <a:lnTo>
                  <a:pt x="388874" y="320860"/>
                </a:lnTo>
                <a:lnTo>
                  <a:pt x="398272" y="303555"/>
                </a:lnTo>
                <a:lnTo>
                  <a:pt x="351583" y="279392"/>
                </a:lnTo>
                <a:lnTo>
                  <a:pt x="317182" y="250867"/>
                </a:lnTo>
                <a:lnTo>
                  <a:pt x="294116" y="218378"/>
                </a:lnTo>
                <a:lnTo>
                  <a:pt x="281431" y="182321"/>
                </a:lnTo>
                <a:close/>
              </a:path>
              <a:path w="901065" h="563879">
                <a:moveTo>
                  <a:pt x="393573" y="220853"/>
                </a:moveTo>
                <a:lnTo>
                  <a:pt x="384530" y="224744"/>
                </a:lnTo>
                <a:lnTo>
                  <a:pt x="375713" y="229781"/>
                </a:lnTo>
                <a:lnTo>
                  <a:pt x="367158" y="235522"/>
                </a:lnTo>
                <a:lnTo>
                  <a:pt x="358901" y="241528"/>
                </a:lnTo>
                <a:lnTo>
                  <a:pt x="376237" y="253525"/>
                </a:lnTo>
                <a:lnTo>
                  <a:pt x="395096" y="262791"/>
                </a:lnTo>
                <a:lnTo>
                  <a:pt x="415194" y="269414"/>
                </a:lnTo>
                <a:lnTo>
                  <a:pt x="436244" y="273481"/>
                </a:lnTo>
                <a:lnTo>
                  <a:pt x="423666" y="261558"/>
                </a:lnTo>
                <a:lnTo>
                  <a:pt x="412480" y="248929"/>
                </a:lnTo>
                <a:lnTo>
                  <a:pt x="402508" y="235419"/>
                </a:lnTo>
                <a:lnTo>
                  <a:pt x="393573" y="220853"/>
                </a:lnTo>
                <a:close/>
              </a:path>
              <a:path w="901065" h="563879">
                <a:moveTo>
                  <a:pt x="445642" y="209575"/>
                </a:moveTo>
                <a:lnTo>
                  <a:pt x="434786" y="210015"/>
                </a:lnTo>
                <a:lnTo>
                  <a:pt x="424037" y="211337"/>
                </a:lnTo>
                <a:lnTo>
                  <a:pt x="413549" y="213540"/>
                </a:lnTo>
                <a:lnTo>
                  <a:pt x="403478" y="216623"/>
                </a:lnTo>
                <a:lnTo>
                  <a:pt x="411745" y="231095"/>
                </a:lnTo>
                <a:lnTo>
                  <a:pt x="421703" y="244641"/>
                </a:lnTo>
                <a:lnTo>
                  <a:pt x="433089" y="256866"/>
                </a:lnTo>
                <a:lnTo>
                  <a:pt x="445642" y="267373"/>
                </a:lnTo>
                <a:lnTo>
                  <a:pt x="445642" y="209575"/>
                </a:lnTo>
                <a:close/>
              </a:path>
              <a:path w="901065" h="563879">
                <a:moveTo>
                  <a:pt x="371982" y="141439"/>
                </a:moveTo>
                <a:lnTo>
                  <a:pt x="309625" y="141439"/>
                </a:lnTo>
                <a:lnTo>
                  <a:pt x="313386" y="167614"/>
                </a:lnTo>
                <a:lnTo>
                  <a:pt x="321711" y="192255"/>
                </a:lnTo>
                <a:lnTo>
                  <a:pt x="334432" y="214854"/>
                </a:lnTo>
                <a:lnTo>
                  <a:pt x="351408" y="234950"/>
                </a:lnTo>
                <a:lnTo>
                  <a:pt x="360281" y="228246"/>
                </a:lnTo>
                <a:lnTo>
                  <a:pt x="369427" y="222203"/>
                </a:lnTo>
                <a:lnTo>
                  <a:pt x="378930" y="216778"/>
                </a:lnTo>
                <a:lnTo>
                  <a:pt x="388874" y="211924"/>
                </a:lnTo>
                <a:lnTo>
                  <a:pt x="382305" y="194766"/>
                </a:lnTo>
                <a:lnTo>
                  <a:pt x="377285" y="177563"/>
                </a:lnTo>
                <a:lnTo>
                  <a:pt x="373836" y="159920"/>
                </a:lnTo>
                <a:lnTo>
                  <a:pt x="371982" y="141439"/>
                </a:lnTo>
                <a:close/>
              </a:path>
              <a:path w="901065" h="563879">
                <a:moveTo>
                  <a:pt x="445642" y="141439"/>
                </a:moveTo>
                <a:lnTo>
                  <a:pt x="382777" y="141439"/>
                </a:lnTo>
                <a:lnTo>
                  <a:pt x="384020" y="158672"/>
                </a:lnTo>
                <a:lnTo>
                  <a:pt x="387000" y="175683"/>
                </a:lnTo>
                <a:lnTo>
                  <a:pt x="391743" y="192255"/>
                </a:lnTo>
                <a:lnTo>
                  <a:pt x="398272" y="208165"/>
                </a:lnTo>
                <a:lnTo>
                  <a:pt x="409692" y="204590"/>
                </a:lnTo>
                <a:lnTo>
                  <a:pt x="421433" y="201763"/>
                </a:lnTo>
                <a:lnTo>
                  <a:pt x="433437" y="199905"/>
                </a:lnTo>
                <a:lnTo>
                  <a:pt x="445642" y="199237"/>
                </a:lnTo>
                <a:lnTo>
                  <a:pt x="445642" y="141439"/>
                </a:lnTo>
                <a:close/>
              </a:path>
              <a:path w="901065" h="563879">
                <a:moveTo>
                  <a:pt x="502411" y="65316"/>
                </a:moveTo>
                <a:lnTo>
                  <a:pt x="490999" y="68825"/>
                </a:lnTo>
                <a:lnTo>
                  <a:pt x="479313" y="71542"/>
                </a:lnTo>
                <a:lnTo>
                  <a:pt x="467461" y="73377"/>
                </a:lnTo>
                <a:lnTo>
                  <a:pt x="455549" y="74244"/>
                </a:lnTo>
                <a:lnTo>
                  <a:pt x="455549" y="131572"/>
                </a:lnTo>
                <a:lnTo>
                  <a:pt x="517905" y="131572"/>
                </a:lnTo>
                <a:lnTo>
                  <a:pt x="516878" y="114479"/>
                </a:lnTo>
                <a:lnTo>
                  <a:pt x="513873" y="97739"/>
                </a:lnTo>
                <a:lnTo>
                  <a:pt x="509012" y="81351"/>
                </a:lnTo>
                <a:lnTo>
                  <a:pt x="502411" y="65316"/>
                </a:lnTo>
                <a:close/>
              </a:path>
              <a:path w="901065" h="563879">
                <a:moveTo>
                  <a:pt x="549275" y="38531"/>
                </a:moveTo>
                <a:lnTo>
                  <a:pt x="540625" y="45235"/>
                </a:lnTo>
                <a:lnTo>
                  <a:pt x="531510" y="51277"/>
                </a:lnTo>
                <a:lnTo>
                  <a:pt x="522039" y="56703"/>
                </a:lnTo>
                <a:lnTo>
                  <a:pt x="512317" y="61556"/>
                </a:lnTo>
                <a:lnTo>
                  <a:pt x="518860" y="78311"/>
                </a:lnTo>
                <a:lnTo>
                  <a:pt x="523795" y="95507"/>
                </a:lnTo>
                <a:lnTo>
                  <a:pt x="527087" y="113231"/>
                </a:lnTo>
                <a:lnTo>
                  <a:pt x="528701" y="131572"/>
                </a:lnTo>
                <a:lnTo>
                  <a:pt x="591057" y="131572"/>
                </a:lnTo>
                <a:lnTo>
                  <a:pt x="587708" y="106263"/>
                </a:lnTo>
                <a:lnTo>
                  <a:pt x="579691" y="82056"/>
                </a:lnTo>
                <a:lnTo>
                  <a:pt x="566912" y="59346"/>
                </a:lnTo>
                <a:lnTo>
                  <a:pt x="549275" y="38531"/>
                </a:lnTo>
                <a:close/>
              </a:path>
              <a:path w="901065" h="563879">
                <a:moveTo>
                  <a:pt x="455549" y="5638"/>
                </a:moveTo>
                <a:lnTo>
                  <a:pt x="455549" y="64376"/>
                </a:lnTo>
                <a:lnTo>
                  <a:pt x="466111" y="63788"/>
                </a:lnTo>
                <a:lnTo>
                  <a:pt x="476710" y="62144"/>
                </a:lnTo>
                <a:lnTo>
                  <a:pt x="487142" y="59618"/>
                </a:lnTo>
                <a:lnTo>
                  <a:pt x="497204" y="56388"/>
                </a:lnTo>
                <a:lnTo>
                  <a:pt x="488946" y="42246"/>
                </a:lnTo>
                <a:lnTo>
                  <a:pt x="479044" y="28898"/>
                </a:lnTo>
                <a:lnTo>
                  <a:pt x="467808" y="16608"/>
                </a:lnTo>
                <a:lnTo>
                  <a:pt x="455549" y="5638"/>
                </a:lnTo>
                <a:close/>
              </a:path>
              <a:path w="901065" h="563879">
                <a:moveTo>
                  <a:pt x="464438" y="0"/>
                </a:moveTo>
                <a:lnTo>
                  <a:pt x="477017" y="11864"/>
                </a:lnTo>
                <a:lnTo>
                  <a:pt x="488203" y="24434"/>
                </a:lnTo>
                <a:lnTo>
                  <a:pt x="498175" y="38061"/>
                </a:lnTo>
                <a:lnTo>
                  <a:pt x="507110" y="53098"/>
                </a:lnTo>
                <a:lnTo>
                  <a:pt x="516219" y="48994"/>
                </a:lnTo>
                <a:lnTo>
                  <a:pt x="525113" y="43876"/>
                </a:lnTo>
                <a:lnTo>
                  <a:pt x="533578" y="37966"/>
                </a:lnTo>
                <a:lnTo>
                  <a:pt x="541401" y="31483"/>
                </a:lnTo>
                <a:lnTo>
                  <a:pt x="524071" y="19691"/>
                </a:lnTo>
                <a:lnTo>
                  <a:pt x="505348" y="10455"/>
                </a:lnTo>
                <a:lnTo>
                  <a:pt x="485411" y="3861"/>
                </a:lnTo>
                <a:lnTo>
                  <a:pt x="464438" y="0"/>
                </a:lnTo>
                <a:close/>
              </a:path>
              <a:path w="901065" h="563879">
                <a:moveTo>
                  <a:pt x="351408" y="38531"/>
                </a:moveTo>
                <a:lnTo>
                  <a:pt x="334218" y="58818"/>
                </a:lnTo>
                <a:lnTo>
                  <a:pt x="321516" y="81351"/>
                </a:lnTo>
                <a:lnTo>
                  <a:pt x="313314" y="105734"/>
                </a:lnTo>
                <a:lnTo>
                  <a:pt x="309625" y="131572"/>
                </a:lnTo>
                <a:lnTo>
                  <a:pt x="371982" y="131572"/>
                </a:lnTo>
                <a:lnTo>
                  <a:pt x="373836" y="113297"/>
                </a:lnTo>
                <a:lnTo>
                  <a:pt x="377285" y="95683"/>
                </a:lnTo>
                <a:lnTo>
                  <a:pt x="382305" y="78510"/>
                </a:lnTo>
                <a:lnTo>
                  <a:pt x="388874" y="61556"/>
                </a:lnTo>
                <a:lnTo>
                  <a:pt x="378930" y="56769"/>
                </a:lnTo>
                <a:lnTo>
                  <a:pt x="369427" y="51454"/>
                </a:lnTo>
                <a:lnTo>
                  <a:pt x="360281" y="45433"/>
                </a:lnTo>
                <a:lnTo>
                  <a:pt x="351408" y="38531"/>
                </a:lnTo>
                <a:close/>
              </a:path>
              <a:path w="901065" h="563879">
                <a:moveTo>
                  <a:pt x="398272" y="65316"/>
                </a:moveTo>
                <a:lnTo>
                  <a:pt x="391743" y="81219"/>
                </a:lnTo>
                <a:lnTo>
                  <a:pt x="387000" y="97739"/>
                </a:lnTo>
                <a:lnTo>
                  <a:pt x="384020" y="114611"/>
                </a:lnTo>
                <a:lnTo>
                  <a:pt x="382777" y="131572"/>
                </a:lnTo>
                <a:lnTo>
                  <a:pt x="445642" y="131572"/>
                </a:lnTo>
                <a:lnTo>
                  <a:pt x="445642" y="74244"/>
                </a:lnTo>
                <a:lnTo>
                  <a:pt x="433437" y="73377"/>
                </a:lnTo>
                <a:lnTo>
                  <a:pt x="421433" y="71542"/>
                </a:lnTo>
                <a:lnTo>
                  <a:pt x="409692" y="68825"/>
                </a:lnTo>
                <a:lnTo>
                  <a:pt x="398272" y="65316"/>
                </a:lnTo>
                <a:close/>
              </a:path>
              <a:path w="901065" h="563879">
                <a:moveTo>
                  <a:pt x="445642" y="5638"/>
                </a:moveTo>
                <a:lnTo>
                  <a:pt x="433089" y="16674"/>
                </a:lnTo>
                <a:lnTo>
                  <a:pt x="421703" y="29075"/>
                </a:lnTo>
                <a:lnTo>
                  <a:pt x="411745" y="42445"/>
                </a:lnTo>
                <a:lnTo>
                  <a:pt x="403478" y="56388"/>
                </a:lnTo>
                <a:lnTo>
                  <a:pt x="413549" y="59420"/>
                </a:lnTo>
                <a:lnTo>
                  <a:pt x="424037" y="61968"/>
                </a:lnTo>
                <a:lnTo>
                  <a:pt x="434786" y="63722"/>
                </a:lnTo>
                <a:lnTo>
                  <a:pt x="445642" y="64376"/>
                </a:lnTo>
                <a:lnTo>
                  <a:pt x="445642" y="5638"/>
                </a:lnTo>
                <a:close/>
              </a:path>
              <a:path w="901065" h="563879">
                <a:moveTo>
                  <a:pt x="436244" y="0"/>
                </a:moveTo>
                <a:lnTo>
                  <a:pt x="415266" y="3861"/>
                </a:lnTo>
                <a:lnTo>
                  <a:pt x="395287" y="10455"/>
                </a:lnTo>
                <a:lnTo>
                  <a:pt x="376451" y="19691"/>
                </a:lnTo>
                <a:lnTo>
                  <a:pt x="358901" y="31483"/>
                </a:lnTo>
                <a:lnTo>
                  <a:pt x="367087" y="37966"/>
                </a:lnTo>
                <a:lnTo>
                  <a:pt x="375523" y="43876"/>
                </a:lnTo>
                <a:lnTo>
                  <a:pt x="384315" y="48994"/>
                </a:lnTo>
                <a:lnTo>
                  <a:pt x="393573" y="53098"/>
                </a:lnTo>
                <a:lnTo>
                  <a:pt x="402365" y="38194"/>
                </a:lnTo>
                <a:lnTo>
                  <a:pt x="412480" y="24434"/>
                </a:lnTo>
                <a:lnTo>
                  <a:pt x="423808" y="11732"/>
                </a:lnTo>
                <a:lnTo>
                  <a:pt x="436244" y="0"/>
                </a:lnTo>
                <a:close/>
              </a:path>
              <a:path w="901065" h="563879">
                <a:moveTo>
                  <a:pt x="545591" y="429488"/>
                </a:moveTo>
                <a:lnTo>
                  <a:pt x="486917" y="429488"/>
                </a:lnTo>
                <a:lnTo>
                  <a:pt x="466343" y="563880"/>
                </a:lnTo>
                <a:lnTo>
                  <a:pt x="525399" y="563880"/>
                </a:lnTo>
                <a:lnTo>
                  <a:pt x="545591" y="429488"/>
                </a:lnTo>
                <a:close/>
              </a:path>
              <a:path w="901065" h="563879">
                <a:moveTo>
                  <a:pt x="733170" y="384848"/>
                </a:moveTo>
                <a:lnTo>
                  <a:pt x="674115" y="384848"/>
                </a:lnTo>
                <a:lnTo>
                  <a:pt x="584073" y="563880"/>
                </a:lnTo>
                <a:lnTo>
                  <a:pt x="643127" y="563880"/>
                </a:lnTo>
                <a:lnTo>
                  <a:pt x="653033" y="542734"/>
                </a:lnTo>
                <a:lnTo>
                  <a:pt x="766322" y="542734"/>
                </a:lnTo>
                <a:lnTo>
                  <a:pt x="758429" y="505142"/>
                </a:lnTo>
                <a:lnTo>
                  <a:pt x="667511" y="505142"/>
                </a:lnTo>
                <a:lnTo>
                  <a:pt x="695705" y="439826"/>
                </a:lnTo>
                <a:lnTo>
                  <a:pt x="744714" y="439826"/>
                </a:lnTo>
                <a:lnTo>
                  <a:pt x="733170" y="384848"/>
                </a:lnTo>
                <a:close/>
              </a:path>
              <a:path w="901065" h="563879">
                <a:moveTo>
                  <a:pt x="766322" y="542734"/>
                </a:moveTo>
                <a:lnTo>
                  <a:pt x="712088" y="542734"/>
                </a:lnTo>
                <a:lnTo>
                  <a:pt x="714501" y="563880"/>
                </a:lnTo>
                <a:lnTo>
                  <a:pt x="770762" y="563880"/>
                </a:lnTo>
                <a:lnTo>
                  <a:pt x="766322" y="542734"/>
                </a:lnTo>
                <a:close/>
              </a:path>
              <a:path w="901065" h="563879">
                <a:moveTo>
                  <a:pt x="744714" y="439826"/>
                </a:moveTo>
                <a:lnTo>
                  <a:pt x="695705" y="439826"/>
                </a:lnTo>
                <a:lnTo>
                  <a:pt x="705484" y="505142"/>
                </a:lnTo>
                <a:lnTo>
                  <a:pt x="758429" y="505142"/>
                </a:lnTo>
                <a:lnTo>
                  <a:pt x="744714" y="439826"/>
                </a:lnTo>
                <a:close/>
              </a:path>
              <a:path w="901065" h="563879">
                <a:moveTo>
                  <a:pt x="604647" y="383908"/>
                </a:moveTo>
                <a:lnTo>
                  <a:pt x="443737" y="383908"/>
                </a:lnTo>
                <a:lnTo>
                  <a:pt x="434848" y="429488"/>
                </a:lnTo>
                <a:lnTo>
                  <a:pt x="595249" y="429488"/>
                </a:lnTo>
                <a:lnTo>
                  <a:pt x="604647" y="383908"/>
                </a:lnTo>
                <a:close/>
              </a:path>
              <a:path w="901065" h="563879">
                <a:moveTo>
                  <a:pt x="224662" y="384848"/>
                </a:moveTo>
                <a:lnTo>
                  <a:pt x="164718" y="384848"/>
                </a:lnTo>
                <a:lnTo>
                  <a:pt x="128015" y="563880"/>
                </a:lnTo>
                <a:lnTo>
                  <a:pt x="188086" y="563880"/>
                </a:lnTo>
                <a:lnTo>
                  <a:pt x="224662" y="384848"/>
                </a:lnTo>
                <a:close/>
              </a:path>
              <a:path w="901065" h="563879">
                <a:moveTo>
                  <a:pt x="374395" y="384848"/>
                </a:moveTo>
                <a:lnTo>
                  <a:pt x="315213" y="384848"/>
                </a:lnTo>
                <a:lnTo>
                  <a:pt x="224662" y="563880"/>
                </a:lnTo>
                <a:lnTo>
                  <a:pt x="284225" y="563880"/>
                </a:lnTo>
                <a:lnTo>
                  <a:pt x="293624" y="542734"/>
                </a:lnTo>
                <a:lnTo>
                  <a:pt x="406988" y="542734"/>
                </a:lnTo>
                <a:lnTo>
                  <a:pt x="399227" y="505142"/>
                </a:lnTo>
                <a:lnTo>
                  <a:pt x="308228" y="505142"/>
                </a:lnTo>
                <a:lnTo>
                  <a:pt x="336295" y="439826"/>
                </a:lnTo>
                <a:lnTo>
                  <a:pt x="385744" y="439826"/>
                </a:lnTo>
                <a:lnTo>
                  <a:pt x="374395" y="384848"/>
                </a:lnTo>
                <a:close/>
              </a:path>
              <a:path w="901065" h="563879">
                <a:moveTo>
                  <a:pt x="406988" y="542734"/>
                </a:moveTo>
                <a:lnTo>
                  <a:pt x="352805" y="542734"/>
                </a:lnTo>
                <a:lnTo>
                  <a:pt x="356107" y="563880"/>
                </a:lnTo>
                <a:lnTo>
                  <a:pt x="411352" y="563880"/>
                </a:lnTo>
                <a:lnTo>
                  <a:pt x="406988" y="542734"/>
                </a:lnTo>
                <a:close/>
              </a:path>
              <a:path w="901065" h="563879">
                <a:moveTo>
                  <a:pt x="385744" y="439826"/>
                </a:moveTo>
                <a:lnTo>
                  <a:pt x="336295" y="439826"/>
                </a:lnTo>
                <a:lnTo>
                  <a:pt x="346709" y="505142"/>
                </a:lnTo>
                <a:lnTo>
                  <a:pt x="399227" y="505142"/>
                </a:lnTo>
                <a:lnTo>
                  <a:pt x="385744" y="43982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8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0-Nov-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937698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0-Nov-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8052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40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40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EE11BD8-6580-41DD-940E-B1D1B8B2E21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9738BE3-1506-4C98-A8EE-0BB4912D32C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8806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hankYou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B8F16C-570A-470A-AC41-3DFDC1411C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48425" y="0"/>
            <a:ext cx="5753100" cy="5753100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5742127 w 5753100"/>
              <a:gd name="connsiteY3" fmla="*/ 5753100 h 5753100"/>
              <a:gd name="connsiteX4" fmla="*/ 4388 w 5753100"/>
              <a:gd name="connsiteY4" fmla="*/ 297076 h 5753100"/>
              <a:gd name="connsiteX5" fmla="*/ 0 w 5753100"/>
              <a:gd name="connsiteY5" fmla="*/ 123264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5742127" y="5753100"/>
                </a:lnTo>
                <a:cubicBezTo>
                  <a:pt x="2667478" y="5753100"/>
                  <a:pt x="158214" y="3337026"/>
                  <a:pt x="4388" y="297076"/>
                </a:cubicBezTo>
                <a:lnTo>
                  <a:pt x="0" y="123264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547513D5-8313-4D89-8E49-067C97135D8A}" type="datetime3">
              <a:rPr lang="en-US" smtClean="0"/>
              <a:pPr/>
              <a:t>30 November 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736592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sign off inform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0F5EA913-91DE-4286-B6E6-13E414E8221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4050994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WHITE_TextSlide_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821CC-265E-473E-BD96-BC93B6A49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D518933-C06B-479E-8487-1189C2548F6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787346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WHITE_TextSlide_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29324" cy="60939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7176" y="1485900"/>
            <a:ext cx="5523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5B7B4106-2F1F-45B9-9A64-FAC3DF7E09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4589004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_TextSlide_Half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FD74FC4-6EF4-4B89-840F-93E75041C2DB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501" y="-4558"/>
            <a:ext cx="6286499" cy="68625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5111325" cy="60939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5124"/>
            <a:ext cx="5110700" cy="38579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32E7365A-63AF-47B0-967F-AB95F8EF34E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1CD6511-AE09-4A89-A3A2-408EC0D458F5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87176" y="1895124"/>
            <a:ext cx="5523824" cy="38579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09E20E3-6C3E-4148-8F5D-27D6B62EFA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365760"/>
            <a:ext cx="5524500" cy="61264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4400" b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5306102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_TextSlide_Half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FD74FC4-6EF4-4B89-840F-93E75041C2DB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501" y="-4558"/>
            <a:ext cx="6286499" cy="68625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5111496" cy="60939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5124"/>
            <a:ext cx="5111496" cy="38579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32E7365A-63AF-47B0-967F-AB95F8EF34E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A33E534-3A2B-4B24-824B-761F7FBA96B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87176" y="1895124"/>
            <a:ext cx="5523824" cy="38579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AC4B3F9-EECA-4E97-B03A-4239053CB8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365760"/>
            <a:ext cx="5524500" cy="61264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4400" b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9898443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_TextSlide_Half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FD74FC4-6EF4-4B89-840F-93E75041C2DB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501" y="-4558"/>
            <a:ext cx="6286499" cy="686255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5111496" cy="60939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5124"/>
            <a:ext cx="5111496" cy="38579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7176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32E7365A-63AF-47B0-967F-AB95F8EF34E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A33E534-3A2B-4B24-824B-761F7FBA96B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87176" y="1895124"/>
            <a:ext cx="5523824" cy="38579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E9C51BF0-4C1F-4AE0-B263-09B2409980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365760"/>
            <a:ext cx="5524500" cy="61264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44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859966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_TextSlide_Half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FD74FC4-6EF4-4B89-840F-93E75041C2DB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501" y="-4559"/>
            <a:ext cx="6286499" cy="68625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5111496" cy="60939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5124"/>
            <a:ext cx="5111496" cy="38579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32E7365A-63AF-47B0-967F-AB95F8EF34E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A33E534-3A2B-4B24-824B-761F7FBA96B4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87176" y="1895124"/>
            <a:ext cx="5523824" cy="38579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E160877-7ABB-432A-B45F-C37DD81D7A3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365760"/>
            <a:ext cx="5524500" cy="61264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4400" b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6415288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WHITE_TextSlide_Comparison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30000" cy="61264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1214A8-797C-4060-87C6-8AD2576B2F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485900"/>
            <a:ext cx="5524500" cy="612648"/>
          </a:xfrm>
        </p:spPr>
        <p:txBody>
          <a:bodyPr anchor="t" anchorCtr="0"/>
          <a:lstStyle>
            <a:lvl1pPr marL="0" indent="0">
              <a:buNone/>
              <a:defRPr sz="2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2098548"/>
            <a:ext cx="5524500" cy="365455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8E02DB-026F-4957-99F9-809354C0EE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1485900"/>
            <a:ext cx="5524500" cy="612648"/>
          </a:xfrm>
        </p:spPr>
        <p:txBody>
          <a:bodyPr anchor="t" anchorCtr="0"/>
          <a:lstStyle>
            <a:lvl1pPr marL="0" indent="0">
              <a:buNone/>
              <a:defRPr sz="2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556944C-3AA2-4F0B-A504-74A0CCAAEF6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86500" y="2098548"/>
            <a:ext cx="5524500" cy="365455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0E2943B-F3BB-4745-8729-DFACD7E9435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6250225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ext+Photo-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263EF67-71D6-425F-9F93-AD2BCA30BD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4736592" cy="61264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1901952"/>
            <a:ext cx="4736592" cy="385340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9247D218-D62C-4742-ACE7-429AA3B6153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6063047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ext+Photo-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263EF67-71D6-425F-9F93-AD2BCA30BD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0" y="365125"/>
            <a:ext cx="5524500" cy="61264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6500" y="1899696"/>
            <a:ext cx="5524500" cy="385340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9718B2F2-5726-48B1-8DC8-614E01AE8BC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690172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WHITE_TextSlide_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5" y="1485900"/>
            <a:ext cx="3383280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04022" y="1485900"/>
            <a:ext cx="3383280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C9A967D-8A0B-4436-A012-333049F84F2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427720" y="1485900"/>
            <a:ext cx="3383280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3E986B7D-6841-4184-9EDF-E789B044A56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78566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ty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B391F902-427D-AE47-AB21-70E08B278D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2000" y="0"/>
            <a:ext cx="6091200" cy="6858000"/>
          </a:xfrm>
          <a:custGeom>
            <a:avLst/>
            <a:gdLst>
              <a:gd name="connsiteX0" fmla="*/ 0 w 6091200"/>
              <a:gd name="connsiteY0" fmla="*/ 0 h 6858000"/>
              <a:gd name="connsiteX1" fmla="*/ 6091200 w 6091200"/>
              <a:gd name="connsiteY1" fmla="*/ 0 h 6858000"/>
              <a:gd name="connsiteX2" fmla="*/ 6091200 w 6091200"/>
              <a:gd name="connsiteY2" fmla="*/ 6858000 h 6858000"/>
              <a:gd name="connsiteX3" fmla="*/ 2286000 w 6091200"/>
              <a:gd name="connsiteY3" fmla="*/ 6858000 h 6858000"/>
              <a:gd name="connsiteX4" fmla="*/ 2286000 w 6091200"/>
              <a:gd name="connsiteY4" fmla="*/ 3429000 h 6858000"/>
              <a:gd name="connsiteX5" fmla="*/ 0 w 6091200"/>
              <a:gd name="connsiteY5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1200" h="6858000">
                <a:moveTo>
                  <a:pt x="0" y="0"/>
                </a:moveTo>
                <a:lnTo>
                  <a:pt x="6091200" y="0"/>
                </a:lnTo>
                <a:lnTo>
                  <a:pt x="6091200" y="6858000"/>
                </a:lnTo>
                <a:lnTo>
                  <a:pt x="2286000" y="6858000"/>
                </a:lnTo>
                <a:lnTo>
                  <a:pt x="2286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anchor="ctr" anchorCtr="0">
            <a:noAutofit/>
          </a:bodyPr>
          <a:lstStyle>
            <a:lvl1pPr algn="ctr">
              <a:defRPr sz="2000"/>
            </a:lvl1pPr>
          </a:lstStyle>
          <a:p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A149394-4D07-864E-9E2A-539CE02EB3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00000" cy="1881538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title 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0B7F3AF0-22C6-CD4E-B1AD-F64EA21AD5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88800" y="6156000"/>
            <a:ext cx="3600000" cy="432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fld id="{627E42C2-BD13-46C2-83DE-7CF59F435D39}" type="datetime1">
              <a:rPr lang="en-US" smtClean="0"/>
              <a:t>30-Nov-21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C7D4C7D-8888-F24A-8D56-9B5233DECD73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678017" y="5884200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CFEDDD2-D68A-E247-BA34-D7FF7F6218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8800" y="3384000"/>
            <a:ext cx="3600000" cy="10800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3400"/>
              </a:lnSpc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9005954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extSlide_Photo+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5524500" cy="60939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897026"/>
            <a:ext cx="5523824" cy="385607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2BD715A7-CDAB-4300-87D7-26DDB8999B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1"/>
            <a:ext cx="6096001" cy="6111545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D2A12F29-966B-41CC-8056-66C3A0CE56A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4492165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extSlide_Big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1485900"/>
            <a:ext cx="5524500" cy="1943100"/>
          </a:xfrm>
        </p:spPr>
        <p:txBody>
          <a:bodyPr/>
          <a:lstStyle>
            <a:lvl1pPr>
              <a:defRPr sz="16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XX%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676" y="3568439"/>
            <a:ext cx="5523824" cy="218466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defRPr sz="3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2BD715A7-CDAB-4300-87D7-26DDB8999B0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-1"/>
            <a:ext cx="6096001" cy="6111545"/>
          </a:xfrm>
          <a:custGeom>
            <a:avLst/>
            <a:gdLst>
              <a:gd name="connsiteX0" fmla="*/ 3528701 w 6048375"/>
              <a:gd name="connsiteY0" fmla="*/ 0 h 6063798"/>
              <a:gd name="connsiteX1" fmla="*/ 6048375 w 6048375"/>
              <a:gd name="connsiteY1" fmla="*/ 0 h 6063798"/>
              <a:gd name="connsiteX2" fmla="*/ 6048375 w 6048375"/>
              <a:gd name="connsiteY2" fmla="*/ 2544973 h 6063798"/>
              <a:gd name="connsiteX3" fmla="*/ 2532774 w 6048375"/>
              <a:gd name="connsiteY3" fmla="*/ 6063798 h 6063798"/>
              <a:gd name="connsiteX4" fmla="*/ 1267548 w 6048375"/>
              <a:gd name="connsiteY4" fmla="*/ 4798572 h 6063798"/>
              <a:gd name="connsiteX5" fmla="*/ 0 w 6048375"/>
              <a:gd name="connsiteY5" fmla="*/ 3528703 h 606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48375" h="6063798">
                <a:moveTo>
                  <a:pt x="3528701" y="0"/>
                </a:moveTo>
                <a:lnTo>
                  <a:pt x="6048375" y="0"/>
                </a:lnTo>
                <a:lnTo>
                  <a:pt x="6048375" y="2544973"/>
                </a:lnTo>
                <a:lnTo>
                  <a:pt x="2532774" y="6063798"/>
                </a:lnTo>
                <a:lnTo>
                  <a:pt x="1267548" y="4798572"/>
                </a:lnTo>
                <a:lnTo>
                  <a:pt x="0" y="3528703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6FBDC1F-BBEC-45A3-B377-2DA8754728D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1309139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Photo+BigQuot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869E21B-A703-4EDF-B4FA-B5E512E463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9B35DB1-D7AC-4FA8-B932-26B3A103D00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81000" y="3799539"/>
            <a:ext cx="11430000" cy="1768289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5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big quote style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7426538-B659-460A-A700-D799FA6E6BA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001055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Photo+BigQuot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6375DDD-61B4-4459-A66A-CEC3372C4C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6171743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Photo+BigQuote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0" y="381000"/>
            <a:ext cx="5524500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994CCE3D-0857-40B5-B26B-615050BD500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7339860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_Photo+BigQuote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33D383-98C3-40EB-8FCB-C0B373AAFF8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65125"/>
            <a:ext cx="11429324" cy="609398"/>
          </a:xfrm>
        </p:spPr>
        <p:txBody>
          <a:bodyPr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A530C12F-5F3E-460C-8164-7A1A8B1114B8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656047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Photo+BigQuote+Tex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2370015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A6375DDD-61B4-4459-A66A-CEC3372C4C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CB5CFF4-A7D5-477F-B201-BBCD0B64C3A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3149600"/>
            <a:ext cx="4735916" cy="260349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>
                <a:solidFill>
                  <a:schemeClr val="accent1"/>
                </a:solidFill>
              </a:defRPr>
            </a:lvl5pPr>
            <a:lvl6pPr>
              <a:defRPr sz="2000">
                <a:solidFill>
                  <a:schemeClr val="accent1"/>
                </a:solidFill>
              </a:defRPr>
            </a:lvl6pPr>
            <a:lvl7pPr>
              <a:defRPr sz="2000">
                <a:solidFill>
                  <a:schemeClr val="accent1"/>
                </a:solidFill>
              </a:defRPr>
            </a:lvl7pPr>
            <a:lvl8pPr>
              <a:defRPr sz="2000">
                <a:solidFill>
                  <a:schemeClr val="accent1"/>
                </a:solidFill>
              </a:defRPr>
            </a:lvl8pPr>
            <a:lvl9pPr>
              <a:defRPr sz="2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588120843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Photo+BigQuote+Tex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3E1ED2F-ACED-4772-881E-91B4CA40AB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905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0" y="381000"/>
            <a:ext cx="5524500" cy="2368296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EF8E3E7-B486-4E16-8D8D-24A8994ECCD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86500" y="3149600"/>
            <a:ext cx="5524500" cy="260349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>
                <a:solidFill>
                  <a:schemeClr val="accent1"/>
                </a:solidFill>
              </a:defRPr>
            </a:lvl5pPr>
            <a:lvl6pPr>
              <a:defRPr sz="2000">
                <a:solidFill>
                  <a:schemeClr val="accent1"/>
                </a:solidFill>
              </a:defRPr>
            </a:lvl6pPr>
            <a:lvl7pPr>
              <a:defRPr sz="2000">
                <a:solidFill>
                  <a:schemeClr val="accent1"/>
                </a:solidFill>
              </a:defRPr>
            </a:lvl7pPr>
            <a:lvl8pPr>
              <a:defRPr sz="2000">
                <a:solidFill>
                  <a:schemeClr val="accent1"/>
                </a:solidFill>
              </a:defRPr>
            </a:lvl8pPr>
            <a:lvl9pPr>
              <a:defRPr sz="2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66DFE19B-B702-4D5E-BF8B-BCD8FCF4F7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3265994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WHITE_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E037E20-29EF-410F-AA70-D50FAE88B30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244907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HIT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5">
            <a:extLst>
              <a:ext uri="{FF2B5EF4-FFF2-40B4-BE49-F238E27FC236}">
                <a16:creationId xmlns:a16="http://schemas.microsoft.com/office/drawing/2014/main" id="{1A86010D-9F01-497B-8478-6CF04E7FA29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58FB484-E257-4956-8FB5-C4732E1049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A34BD8F-0033-4927-AA44-05B0484E3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26489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(dark pi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338A276-B311-4DD7-8605-AEA6658CCCC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0"/>
            <a:ext cx="6096303" cy="6858000"/>
          </a:xfrm>
          <a:solidFill>
            <a:schemeClr val="tx1"/>
          </a:solidFill>
        </p:spPr>
        <p:txBody>
          <a:bodyPr anchor="ctr" anchorCtr="1"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here to add a dark pictur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4B8EC36-EEA1-4676-AF33-F7D523C832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8800" y="1440000"/>
            <a:ext cx="5486400" cy="22860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 spc="-8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44E19D15-A8D0-455A-87D4-C88B5DF969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Picture Placeholder 26">
            <a:extLst>
              <a:ext uri="{FF2B5EF4-FFF2-40B4-BE49-F238E27FC236}">
                <a16:creationId xmlns:a16="http://schemas.microsoft.com/office/drawing/2014/main" id="{15151BB8-10EA-47B2-B53C-333901764A2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914213" y="5914577"/>
            <a:ext cx="896112" cy="5669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3318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4D976F-6FAA-4B37-814C-E2540D4155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7594714-7312-45C6-A549-3DA221DC5A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441448" y="979883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7C11AF2-310B-4204-B2B1-110CB3C4D1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80686"/>
            <a:ext cx="2441448" cy="1216152"/>
          </a:xfrm>
          <a:solidFill>
            <a:schemeClr val="accent1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2DFAA84-7D74-4EE4-9969-36EFE36B05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175845"/>
            <a:ext cx="2441448" cy="1245485"/>
          </a:xfrm>
          <a:solidFill>
            <a:schemeClr val="accent1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B03F17E-7AF3-4D23-B27C-C7ECDC0C24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09104" y="979883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AFFF8B4F-3FD7-4B75-8C5E-4217FE099B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3752" y="980686"/>
            <a:ext cx="2441448" cy="1216152"/>
          </a:xfrm>
          <a:solidFill>
            <a:schemeClr val="bg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E4C3776-3746-4C7E-8CE4-81499EA159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73752" y="2175845"/>
            <a:ext cx="2441448" cy="1245485"/>
          </a:xfrm>
          <a:solidFill>
            <a:schemeClr val="bg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6F1A06FF-2DAD-45EE-B79A-D1C90C6304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50552" y="980686"/>
            <a:ext cx="2441448" cy="1216152"/>
          </a:xfrm>
          <a:solidFill>
            <a:schemeClr val="accent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DD4ABBA-1287-4173-AFCE-D780F806F2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50552" y="2175845"/>
            <a:ext cx="2441448" cy="1245485"/>
          </a:xfrm>
          <a:solidFill>
            <a:schemeClr val="accent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89160501-DF8F-4B68-8C79-9357C943CBB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19856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5F926C80-9D0E-41BC-B569-E9864391C47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438591" y="3422135"/>
            <a:ext cx="2441448" cy="1216152"/>
          </a:xfrm>
          <a:solidFill>
            <a:schemeClr val="accent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6ADE918-5C3F-4868-93EC-C8EC1B5D18E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38591" y="4622052"/>
            <a:ext cx="2441448" cy="1234440"/>
          </a:xfrm>
          <a:solidFill>
            <a:schemeClr val="accent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3A0ED033-3CA7-4E89-B087-7D1F9375160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869562" y="3419856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B3A7DCB-6B48-4D1F-8FFD-9F94245D17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08153" y="3421330"/>
            <a:ext cx="2441448" cy="2441448"/>
          </a:xfrm>
          <a:solidFill>
            <a:schemeClr val="accent3"/>
          </a:solidFill>
        </p:spPr>
        <p:txBody>
          <a:bodyPr lIns="91440" rIns="91440" anchor="ctr" anchorCtr="0"/>
          <a:lstStyle>
            <a:lvl1pPr algn="ctr">
              <a:spcBef>
                <a:spcPts val="0"/>
              </a:spcBef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23600A98-D578-41EE-A99C-7BFD3707C1F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750552" y="3419856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5E1D2665-DAD1-47EB-A11D-E9D5E114FAF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2627703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Infographic+Text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A7465508-B728-4E30-BD7A-365E47525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5250" y="979364"/>
            <a:ext cx="4061737" cy="609398"/>
          </a:xfrm>
        </p:spPr>
        <p:txBody>
          <a:bodyPr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4B0D480A-BB95-4292-9A5D-3AB93D1711F4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715926" y="2328863"/>
            <a:ext cx="4061737" cy="353867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B3230E92-8E74-4F7F-AA07-FB45DDDBFB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441448" y="979883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ECEAD2B-425C-44E5-B592-0B09E9F420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80686"/>
            <a:ext cx="2441448" cy="1216152"/>
          </a:xfrm>
          <a:solidFill>
            <a:schemeClr val="accent1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3E982D24-E43A-465C-A6EC-1B2673B5E9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2175845"/>
            <a:ext cx="2441448" cy="1245485"/>
          </a:xfrm>
          <a:solidFill>
            <a:schemeClr val="accent1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87841388-2F1F-4301-9336-EDF501EB36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3752" y="980686"/>
            <a:ext cx="2441448" cy="1216152"/>
          </a:xfrm>
          <a:solidFill>
            <a:schemeClr val="bg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4ACC47D9-56A5-461D-A467-D22DB6798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73752" y="2175845"/>
            <a:ext cx="2441448" cy="1245485"/>
          </a:xfrm>
          <a:solidFill>
            <a:schemeClr val="bg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940485CD-E642-4C78-BA9D-13410EA4B5F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3419856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225F0C27-11A6-4545-9064-7B5FF41BE60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438591" y="3422135"/>
            <a:ext cx="2441448" cy="1216152"/>
          </a:xfrm>
          <a:solidFill>
            <a:schemeClr val="accent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8E24B1A2-83A6-4358-8CD4-0ADA79FA751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38591" y="4622052"/>
            <a:ext cx="2441448" cy="1234440"/>
          </a:xfrm>
          <a:solidFill>
            <a:schemeClr val="accent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EC5BC8C6-D017-4A79-AFC8-620DFE283A1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869562" y="3419856"/>
            <a:ext cx="2441448" cy="2441448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Freeform 5">
            <a:extLst>
              <a:ext uri="{FF2B5EF4-FFF2-40B4-BE49-F238E27FC236}">
                <a16:creationId xmlns:a16="http://schemas.microsoft.com/office/drawing/2014/main" id="{AE611DF2-34C1-4AB1-91C8-DE82893217EB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0393738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Infographic+Text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B3230E92-8E74-4F7F-AA07-FB45DDDBFB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54829" y="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ECEAD2B-425C-44E5-B592-0B09E9F420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68829" y="0"/>
            <a:ext cx="2286000" cy="1143000"/>
          </a:xfrm>
          <a:solidFill>
            <a:schemeClr val="accent1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3E982D24-E43A-465C-A6EC-1B2673B5E9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68829" y="1143000"/>
            <a:ext cx="2286000" cy="1143000"/>
          </a:xfrm>
          <a:solidFill>
            <a:schemeClr val="accent1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62263C34-604E-43AD-A4BA-E124354E1F2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68829" y="228600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B4AB61E-8F2A-4C5D-8C50-C2B81CCB3E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54829" y="2286000"/>
            <a:ext cx="2286000" cy="1143000"/>
          </a:xfrm>
          <a:solidFill>
            <a:schemeClr val="accent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12A70373-ECE2-43DE-B382-33B196617DE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54829" y="3429000"/>
            <a:ext cx="2286000" cy="1143000"/>
          </a:xfrm>
          <a:solidFill>
            <a:schemeClr val="accent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A8C5C012-0818-4E83-8BAF-78A346065AF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54829" y="457200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7A0DF7B6-674F-4387-B3AC-D4BF3B305B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8829" y="4572000"/>
            <a:ext cx="2286000" cy="1143000"/>
          </a:xfrm>
          <a:solidFill>
            <a:schemeClr val="accent3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2581D674-05BE-4243-8623-2D9D3A35F45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68829" y="5715000"/>
            <a:ext cx="2286000" cy="1143000"/>
          </a:xfrm>
          <a:solidFill>
            <a:schemeClr val="accent3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6CC3D1C5-1295-44F1-A9C4-E84E95706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0" y="365125"/>
            <a:ext cx="5524500" cy="61264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11C465FF-571A-4758-ADF4-EBF2C1FF47C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6500" y="1899696"/>
            <a:ext cx="5524500" cy="385340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A6ADF8A5-A452-45A5-973C-FDBC9FF0F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162324"/>
            <a:ext cx="457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DB589E50-3132-407B-A23E-AC6E3F5B7E7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5976584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Infographic+Text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FC49835B-3C76-43BD-90E3-3F65A317FCE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901612" y="457200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D04E8466-FA17-4595-AE06-97B7AF8CAE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1612" y="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7DE5AD0A-2F5C-47F0-A3EE-3AA49475BF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7612" y="0"/>
            <a:ext cx="2286000" cy="1143000"/>
          </a:xfrm>
          <a:solidFill>
            <a:schemeClr val="accent1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821464D5-97B7-4B84-9739-F1E45AF987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7612" y="1143000"/>
            <a:ext cx="2286000" cy="1143000"/>
          </a:xfrm>
          <a:solidFill>
            <a:schemeClr val="accent1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07639D56-A4DF-49B3-A536-984FF11A1A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87612" y="2286000"/>
            <a:ext cx="2286000" cy="2286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id="{AE9AF368-5845-4B2E-9CBD-AC2784AF67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01612" y="2286000"/>
            <a:ext cx="2286000" cy="1143000"/>
          </a:xfrm>
          <a:solidFill>
            <a:schemeClr val="accent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1CE716BB-107B-4C95-B429-8E4663C6EE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01612" y="3429000"/>
            <a:ext cx="2286000" cy="1143000"/>
          </a:xfrm>
          <a:solidFill>
            <a:schemeClr val="accent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9DB03C21-F3CF-499C-A601-90260C1F06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87612" y="4572000"/>
            <a:ext cx="2286000" cy="1143000"/>
          </a:xfrm>
          <a:solidFill>
            <a:schemeClr val="accent3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FF419B72-217F-4199-9454-A8BEDDC616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87612" y="5715000"/>
            <a:ext cx="2286000" cy="1143000"/>
          </a:xfrm>
          <a:solidFill>
            <a:schemeClr val="accent3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C5179FB1-935D-4116-90F9-6DE348B23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4736592" cy="61264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22DF753C-DCC4-48B5-BC62-51F01144E17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1899696"/>
            <a:ext cx="4736592" cy="385340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D7796D91-7DE0-465A-B7E1-EE422D5F029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4290080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Infographic+Text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D04E8466-FA17-4595-AE06-97B7AF8CAE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10" y="0"/>
            <a:ext cx="3618187" cy="6853334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7DE5AD0A-2F5C-47F0-A3EE-3AA49475BF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19500" y="0"/>
            <a:ext cx="2286000" cy="1143000"/>
          </a:xfrm>
          <a:solidFill>
            <a:schemeClr val="accent1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821464D5-97B7-4B84-9739-F1E45AF987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9500" y="1143000"/>
            <a:ext cx="2286000" cy="1143000"/>
          </a:xfrm>
          <a:solidFill>
            <a:schemeClr val="accent1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id="{AE9AF368-5845-4B2E-9CBD-AC2784AF673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19502" y="2286000"/>
            <a:ext cx="2286000" cy="1143000"/>
          </a:xfrm>
          <a:solidFill>
            <a:schemeClr val="accent2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40" name="Text Placeholder 8">
            <a:extLst>
              <a:ext uri="{FF2B5EF4-FFF2-40B4-BE49-F238E27FC236}">
                <a16:creationId xmlns:a16="http://schemas.microsoft.com/office/drawing/2014/main" id="{1CE716BB-107B-4C95-B429-8E4663C6EE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19502" y="3429000"/>
            <a:ext cx="2286000" cy="1143000"/>
          </a:xfrm>
          <a:solidFill>
            <a:schemeClr val="accent2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9DB03C21-F3CF-499C-A601-90260C1F06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19503" y="4572000"/>
            <a:ext cx="2286000" cy="1143000"/>
          </a:xfrm>
          <a:solidFill>
            <a:schemeClr val="accent3"/>
          </a:solidFill>
        </p:spPr>
        <p:txBody>
          <a:bodyPr lIns="91440" rIns="91440" anchor="b" anchorCtr="0"/>
          <a:lstStyle>
            <a:lvl1pPr algn="ctr">
              <a:spcBef>
                <a:spcPts val="0"/>
              </a:spcBef>
              <a:defRPr sz="6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 #</a:t>
            </a:r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FF419B72-217F-4199-9454-A8BEDDC616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619503" y="5715000"/>
            <a:ext cx="2286000" cy="1143000"/>
          </a:xfrm>
          <a:solidFill>
            <a:schemeClr val="accent3"/>
          </a:solidFill>
        </p:spPr>
        <p:txBody>
          <a:bodyPr lIns="91440" rIns="91440" anchor="t" anchorCtr="0"/>
          <a:lstStyle>
            <a:lvl1pPr algn="ctr">
              <a:spcBef>
                <a:spcPts val="0"/>
              </a:spcBef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escription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0BFC25-F2D8-40D7-96BA-C0F78F6A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2EE72B-8C4F-4C4B-8E3A-D7A4D706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29D6A1D-EA67-4C28-809B-DCE0A960A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0" y="365125"/>
            <a:ext cx="5524500" cy="61264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A876BA25-A26F-4213-B8B6-49D14D1B6CC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6500" y="1899696"/>
            <a:ext cx="5524500" cy="385340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58ED7D80-C5C0-4DA1-9239-A7795FC300E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1539000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Big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B767A-0100-4E11-94C6-E29DB60EA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49A295-A729-4A3F-A328-98B789BCC4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7F0A67-BB3A-433B-B6D3-06EE0CD5E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E565A-6679-4A67-8FB7-14EA342FD6E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01B54392-5290-4FF8-96DF-1F298545288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5482020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BigQuote+Tex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5B767A-0100-4E11-94C6-E29DB60EA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3260" cy="5372100"/>
          </a:xfrm>
        </p:spPr>
        <p:txBody>
          <a:bodyPr anchor="t" anchorCtr="0"/>
          <a:lstStyle>
            <a:lvl1pPr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big quot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5CCB49-02C2-43A0-A23F-412EC6F653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905453" y="381000"/>
            <a:ext cx="5905547" cy="612648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32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49A295-A729-4A3F-A328-98B789BCC4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7F0A67-BB3A-433B-B6D3-06EE0CD5E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3D29B1E-4BD2-4E78-91D7-0D0DE0F6349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05500" y="1485900"/>
            <a:ext cx="5904824" cy="42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8F7DBB32-5E98-4234-B4C8-ABF8C73CA5B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5144174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hankYou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B8F16C-570A-470A-AC41-3DFDC1411C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48425" y="0"/>
            <a:ext cx="5753100" cy="5753100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5742127 w 5753100"/>
              <a:gd name="connsiteY3" fmla="*/ 5753100 h 5753100"/>
              <a:gd name="connsiteX4" fmla="*/ 4388 w 5753100"/>
              <a:gd name="connsiteY4" fmla="*/ 297076 h 5753100"/>
              <a:gd name="connsiteX5" fmla="*/ 0 w 5753100"/>
              <a:gd name="connsiteY5" fmla="*/ 123264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5742127" y="5753100"/>
                </a:lnTo>
                <a:cubicBezTo>
                  <a:pt x="2667478" y="5753100"/>
                  <a:pt x="158214" y="3337026"/>
                  <a:pt x="4388" y="297076"/>
                </a:cubicBezTo>
                <a:lnTo>
                  <a:pt x="0" y="123264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736592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sign off inform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0F5EA913-91DE-4286-B6E6-13E414E8221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7691860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hankYou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2D38E8E-19F8-46C4-BBB3-D11FF77116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57623" y="0"/>
            <a:ext cx="5134377" cy="5134377"/>
          </a:xfrm>
          <a:custGeom>
            <a:avLst/>
            <a:gdLst>
              <a:gd name="connsiteX0" fmla="*/ 0 w 5753100"/>
              <a:gd name="connsiteY0" fmla="*/ 0 h 5753100"/>
              <a:gd name="connsiteX1" fmla="*/ 5753100 w 5753100"/>
              <a:gd name="connsiteY1" fmla="*/ 0 h 5753100"/>
              <a:gd name="connsiteX2" fmla="*/ 5753100 w 5753100"/>
              <a:gd name="connsiteY2" fmla="*/ 5753100 h 5753100"/>
              <a:gd name="connsiteX3" fmla="*/ 0 w 5753100"/>
              <a:gd name="connsiteY3" fmla="*/ 5753100 h 5753100"/>
              <a:gd name="connsiteX4" fmla="*/ 0 w 5753100"/>
              <a:gd name="connsiteY4" fmla="*/ 3836825 h 5753100"/>
              <a:gd name="connsiteX5" fmla="*/ 1915378 w 5753100"/>
              <a:gd name="connsiteY5" fmla="*/ 3836825 h 5753100"/>
              <a:gd name="connsiteX6" fmla="*/ 1915378 w 5753100"/>
              <a:gd name="connsiteY6" fmla="*/ 1919151 h 5753100"/>
              <a:gd name="connsiteX7" fmla="*/ 0 w 5753100"/>
              <a:gd name="connsiteY7" fmla="*/ 1919151 h 575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100" h="5753100">
                <a:moveTo>
                  <a:pt x="0" y="0"/>
                </a:moveTo>
                <a:lnTo>
                  <a:pt x="5753100" y="0"/>
                </a:lnTo>
                <a:lnTo>
                  <a:pt x="5753100" y="5753100"/>
                </a:lnTo>
                <a:lnTo>
                  <a:pt x="0" y="5753100"/>
                </a:lnTo>
                <a:lnTo>
                  <a:pt x="0" y="3836825"/>
                </a:lnTo>
                <a:lnTo>
                  <a:pt x="1915378" y="3836825"/>
                </a:lnTo>
                <a:lnTo>
                  <a:pt x="1915378" y="1919151"/>
                </a:lnTo>
                <a:lnTo>
                  <a:pt x="0" y="1919151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736592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sign off information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AD4A7B18-21C4-40A0-91F0-221DC1CC68B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3456110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_ThankYou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4736592" cy="3048000"/>
          </a:xfrm>
        </p:spPr>
        <p:txBody>
          <a:bodyPr anchor="t" anchorCtr="0"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000" y="3429000"/>
            <a:ext cx="4736592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sign off information</a:t>
            </a:r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14E817B0-45E4-4CEA-8DFB-DBD5D757A2E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936000" y="0"/>
            <a:ext cx="5256000" cy="5256000"/>
          </a:xfrm>
          <a:custGeom>
            <a:avLst/>
            <a:gdLst>
              <a:gd name="connsiteX0" fmla="*/ 0 w 5256000"/>
              <a:gd name="connsiteY0" fmla="*/ 0 h 5256000"/>
              <a:gd name="connsiteX1" fmla="*/ 4380230 w 5256000"/>
              <a:gd name="connsiteY1" fmla="*/ 0 h 5256000"/>
              <a:gd name="connsiteX2" fmla="*/ 5256000 w 5256000"/>
              <a:gd name="connsiteY2" fmla="*/ 876229 h 5256000"/>
              <a:gd name="connsiteX3" fmla="*/ 4380230 w 5256000"/>
              <a:gd name="connsiteY3" fmla="*/ 876229 h 5256000"/>
              <a:gd name="connsiteX4" fmla="*/ 5256000 w 5256000"/>
              <a:gd name="connsiteY4" fmla="*/ 1752459 h 5256000"/>
              <a:gd name="connsiteX5" fmla="*/ 4380230 w 5256000"/>
              <a:gd name="connsiteY5" fmla="*/ 1752459 h 5256000"/>
              <a:gd name="connsiteX6" fmla="*/ 5256000 w 5256000"/>
              <a:gd name="connsiteY6" fmla="*/ 2628688 h 5256000"/>
              <a:gd name="connsiteX7" fmla="*/ 4380230 w 5256000"/>
              <a:gd name="connsiteY7" fmla="*/ 2628688 h 5256000"/>
              <a:gd name="connsiteX8" fmla="*/ 5256000 w 5256000"/>
              <a:gd name="connsiteY8" fmla="*/ 3503542 h 5256000"/>
              <a:gd name="connsiteX9" fmla="*/ 4380230 w 5256000"/>
              <a:gd name="connsiteY9" fmla="*/ 3503542 h 5256000"/>
              <a:gd name="connsiteX10" fmla="*/ 5256000 w 5256000"/>
              <a:gd name="connsiteY10" fmla="*/ 4379771 h 5256000"/>
              <a:gd name="connsiteX11" fmla="*/ 4380230 w 5256000"/>
              <a:gd name="connsiteY11" fmla="*/ 4379771 h 5256000"/>
              <a:gd name="connsiteX12" fmla="*/ 5256000 w 5256000"/>
              <a:gd name="connsiteY12" fmla="*/ 5256000 h 5256000"/>
              <a:gd name="connsiteX13" fmla="*/ 0 w 5256000"/>
              <a:gd name="connsiteY13" fmla="*/ 5256000 h 525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256000" h="5256000">
                <a:moveTo>
                  <a:pt x="0" y="0"/>
                </a:moveTo>
                <a:lnTo>
                  <a:pt x="4380230" y="0"/>
                </a:lnTo>
                <a:lnTo>
                  <a:pt x="5256000" y="876229"/>
                </a:lnTo>
                <a:lnTo>
                  <a:pt x="4380230" y="876229"/>
                </a:lnTo>
                <a:lnTo>
                  <a:pt x="5256000" y="1752459"/>
                </a:lnTo>
                <a:lnTo>
                  <a:pt x="4380230" y="1752459"/>
                </a:lnTo>
                <a:lnTo>
                  <a:pt x="5256000" y="2628688"/>
                </a:lnTo>
                <a:lnTo>
                  <a:pt x="4380230" y="2628688"/>
                </a:lnTo>
                <a:lnTo>
                  <a:pt x="5256000" y="3503542"/>
                </a:lnTo>
                <a:lnTo>
                  <a:pt x="4380230" y="3503542"/>
                </a:lnTo>
                <a:lnTo>
                  <a:pt x="5256000" y="4379771"/>
                </a:lnTo>
                <a:lnTo>
                  <a:pt x="4380230" y="4379771"/>
                </a:lnTo>
                <a:lnTo>
                  <a:pt x="5256000" y="5256000"/>
                </a:lnTo>
                <a:lnTo>
                  <a:pt x="0" y="525600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 anchorCtr="0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312A9C5F-0071-4A15-8142-51137938E39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426463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WHITE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5500" cy="2387600"/>
          </a:xfrm>
        </p:spPr>
        <p:txBody>
          <a:bodyPr anchor="t" anchorCtr="0"/>
          <a:lstStyle>
            <a:lvl1pPr algn="l">
              <a:lnSpc>
                <a:spcPts val="6187"/>
              </a:lnSpc>
              <a:defRPr sz="5974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5500" cy="1655762"/>
          </a:xfrm>
        </p:spPr>
        <p:txBody>
          <a:bodyPr anchor="t" anchorCtr="0"/>
          <a:lstStyle>
            <a:lvl1pPr marL="0" indent="0" algn="l">
              <a:lnSpc>
                <a:spcPts val="3627"/>
              </a:lnSpc>
              <a:spcBef>
                <a:spcPts val="0"/>
              </a:spcBef>
              <a:spcAft>
                <a:spcPts val="1493"/>
              </a:spcAft>
              <a:buNone/>
              <a:defRPr sz="3413"/>
            </a:lvl1pPr>
            <a:lvl2pPr marL="487695" indent="0" algn="ctr">
              <a:buNone/>
              <a:defRPr sz="2133"/>
            </a:lvl2pPr>
            <a:lvl3pPr marL="975390" indent="0" algn="ctr">
              <a:buNone/>
              <a:defRPr sz="1920"/>
            </a:lvl3pPr>
            <a:lvl4pPr marL="1463086" indent="0" algn="ctr">
              <a:buNone/>
              <a:defRPr sz="1707"/>
            </a:lvl4pPr>
            <a:lvl5pPr marL="1950781" indent="0" algn="ctr">
              <a:buNone/>
              <a:defRPr sz="1707"/>
            </a:lvl5pPr>
            <a:lvl6pPr marL="2438476" indent="0" algn="ctr">
              <a:buNone/>
              <a:defRPr sz="1707"/>
            </a:lvl6pPr>
            <a:lvl7pPr marL="2926171" indent="0" algn="ctr">
              <a:buNone/>
              <a:defRPr sz="1707"/>
            </a:lvl7pPr>
            <a:lvl8pPr marL="3413867" indent="0" algn="ctr">
              <a:buNone/>
              <a:defRPr sz="1707"/>
            </a:lvl8pPr>
            <a:lvl9pPr marL="3901562" indent="0" algn="ctr">
              <a:buNone/>
              <a:defRPr sz="1707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E81DE3F9-F0D7-4B01-85FE-4E485910760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55910" y="5753101"/>
            <a:ext cx="954414" cy="642423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920"/>
          </a:p>
        </p:txBody>
      </p:sp>
    </p:spTree>
    <p:extLst>
      <p:ext uri="{BB962C8B-B14F-4D97-AF65-F5344CB8AC3E}">
        <p14:creationId xmlns:p14="http://schemas.microsoft.com/office/powerpoint/2010/main" val="1679532645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Yellow_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187353D-D205-44F8-92CF-BF4FBF3E287F}"/>
              </a:ext>
            </a:extLst>
          </p:cNvPr>
          <p:cNvSpPr/>
          <p:nvPr userDrawn="1"/>
        </p:nvSpPr>
        <p:spPr>
          <a:xfrm>
            <a:off x="0" y="0"/>
            <a:ext cx="59055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128" y="381000"/>
            <a:ext cx="5521872" cy="3048000"/>
          </a:xfrm>
        </p:spPr>
        <p:txBody>
          <a:bodyPr anchor="t" anchorCtr="0"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89128" y="3429000"/>
            <a:ext cx="5521872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sign off information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D204851B-9100-476C-822A-F9445947366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3253995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RED_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187353D-D205-44F8-92CF-BF4FBF3E287F}"/>
              </a:ext>
            </a:extLst>
          </p:cNvPr>
          <p:cNvSpPr/>
          <p:nvPr userDrawn="1"/>
        </p:nvSpPr>
        <p:spPr>
          <a:xfrm>
            <a:off x="0" y="0"/>
            <a:ext cx="59055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128" y="381000"/>
            <a:ext cx="5521872" cy="3048000"/>
          </a:xfrm>
        </p:spPr>
        <p:txBody>
          <a:bodyPr anchor="t" anchorCtr="0"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89128" y="3429000"/>
            <a:ext cx="5521872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sign off information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5B802FAC-3AFD-45B1-8A63-EDEAF25C129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3396689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BLUE_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187353D-D205-44F8-92CF-BF4FBF3E287F}"/>
              </a:ext>
            </a:extLst>
          </p:cNvPr>
          <p:cNvSpPr/>
          <p:nvPr userDrawn="1"/>
        </p:nvSpPr>
        <p:spPr>
          <a:xfrm>
            <a:off x="0" y="0"/>
            <a:ext cx="59055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 dirty="0"/>
              <a:t>8 November 2021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128" y="381000"/>
            <a:ext cx="5521872" cy="3048000"/>
          </a:xfrm>
        </p:spPr>
        <p:txBody>
          <a:bodyPr anchor="t" anchorCtr="0"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89128" y="3429000"/>
            <a:ext cx="5521872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sign off information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63E832C7-4EF8-4223-9F62-2497A067500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18915F2-BFD8-4F13-AEB4-8E4A03FEC664}"/>
              </a:ext>
            </a:extLst>
          </p:cNvPr>
          <p:cNvSpPr/>
          <p:nvPr userDrawn="1"/>
        </p:nvSpPr>
        <p:spPr>
          <a:xfrm>
            <a:off x="5905500" y="6162324"/>
            <a:ext cx="3505200" cy="4670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1321535398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BLACK_Thank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187353D-D205-44F8-92CF-BF4FBF3E287F}"/>
              </a:ext>
            </a:extLst>
          </p:cNvPr>
          <p:cNvSpPr/>
          <p:nvPr userDrawn="1"/>
        </p:nvSpPr>
        <p:spPr>
          <a:xfrm>
            <a:off x="0" y="0"/>
            <a:ext cx="59055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87FC103-9DE1-4F89-B054-F6510798A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9128" y="381000"/>
            <a:ext cx="5521872" cy="3048000"/>
          </a:xfrm>
        </p:spPr>
        <p:txBody>
          <a:bodyPr anchor="t" anchorCtr="0"/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thank you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55B940-1A19-45DC-8F22-530EFA8E4ADA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289128" y="3429000"/>
            <a:ext cx="5521872" cy="243853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dit contact or sign off information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07C1F9F7-3F3D-45F9-9EB0-8278F78E2E4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2617501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W_Title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E5DEED-A00F-432E-919B-A31AE102E4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1485900"/>
            <a:ext cx="5904000" cy="2387600"/>
          </a:xfrm>
        </p:spPr>
        <p:txBody>
          <a:bodyPr anchor="t" anchorCtr="0"/>
          <a:lstStyle>
            <a:lvl1pPr algn="l">
              <a:lnSpc>
                <a:spcPts val="5800"/>
              </a:lnSpc>
              <a:defRPr sz="5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32A637-F57B-4008-8DC2-4D2B8ECC1A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3965575"/>
            <a:ext cx="5904000" cy="1655762"/>
          </a:xfrm>
        </p:spPr>
        <p:txBody>
          <a:bodyPr anchor="t" anchorCtr="0"/>
          <a:lstStyle>
            <a:lvl1pPr marL="0" indent="0" algn="l">
              <a:lnSpc>
                <a:spcPts val="3400"/>
              </a:lnSpc>
              <a:spcBef>
                <a:spcPts val="0"/>
              </a:spcBef>
              <a:spcAft>
                <a:spcPts val="1400"/>
              </a:spcAft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013E3A3-37C5-400E-905D-C7BC5CA55E5C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528388" y="5678705"/>
            <a:ext cx="1281937" cy="802800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EE11BD8-6580-41DD-940E-B1D1B8B2E21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9738BE3-1506-4C98-A8EE-0BB4912D32C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584008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YELLOW_TextSlide_1-colum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0821CC-265E-473E-BD96-BC93B6A49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C4D5EE-B9EC-4B8B-B697-CD3B955461AE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DAC0F2-E162-4565-9679-1193BED926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2AD9-AF82-4B19-803C-572B453632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3A021-2616-4326-A4F5-4398F8F61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53940B4-F347-4C2C-A284-1ECEEA0A376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0564017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YELLOW_TextSlide_2-colum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1676" y="1485900"/>
            <a:ext cx="5523824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E12FA-2958-4BD2-846B-0E828DE720B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7176" y="1485900"/>
            <a:ext cx="5523824" cy="4267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C04619B8-F3DE-415B-A0A6-52EA585242C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1477195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TextSlide_HalfBLAC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8282A1E-D038-44B9-8B9F-192B55C3E5B1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905500" y="-4559"/>
            <a:ext cx="6286499" cy="68625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337838-0F4C-4B60-9EA9-A72EA55398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5111496" cy="609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CB9B81-F331-4A9C-BE92-11CAB2A6B4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676" y="1895124"/>
            <a:ext cx="5111496" cy="38579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5227B3-9D23-4B0B-B20D-E90AB0E09E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F83FD3-9274-482A-8C94-F5BC0226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C19CC5-1292-4F3E-AC14-45654E863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EFBF08F-B0A5-465D-9AC9-CB3554B0ECF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87176" y="1895124"/>
            <a:ext cx="5523824" cy="38579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94ACDA6-6D86-43E1-8E8F-E8C0B611D1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365760"/>
            <a:ext cx="5524500" cy="61264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4400" b="0">
                <a:solidFill>
                  <a:schemeClr val="accent2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CB1021DB-47E8-4589-AE3A-67B86C26B7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3114229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YELLOW_TextSlide_Comparison-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30000" cy="6126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1214A8-797C-4060-87C6-8AD2576B2F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000" y="1485900"/>
            <a:ext cx="5524500" cy="612648"/>
          </a:xfrm>
        </p:spPr>
        <p:txBody>
          <a:bodyPr anchor="t" anchorCtr="0"/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2098548"/>
            <a:ext cx="5524500" cy="36545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8E02DB-026F-4957-99F9-809354C0EE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86500" y="1485900"/>
            <a:ext cx="5524500" cy="612648"/>
          </a:xfrm>
        </p:spPr>
        <p:txBody>
          <a:bodyPr anchor="t" anchorCtr="0"/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556944C-3AA2-4F0B-A504-74A0CCAAEF6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86500" y="2098548"/>
            <a:ext cx="5524500" cy="365455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C1DCB764-518F-4BCC-AC29-63817E0D075F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997052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_Text+Photo-Righ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8B7BACE-70C4-4F80-BCD0-7E136DB191B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05500" y="0"/>
            <a:ext cx="6286500" cy="6858000"/>
          </a:xfr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BBDDEA-E526-4855-9C7F-14521DF88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4736592" cy="61264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E1BC1E-80A3-473E-AD5D-46B0D9328EF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81000" y="1905000"/>
            <a:ext cx="4736592" cy="38481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7357BB3-C55D-4F69-B727-7B5B633E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LID4096"/>
              <a:t>8 November 2021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DDB539-55B0-4F25-BA28-339645F57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2021 IATA Global Passenger Survey Highlights. © Copyright International Air Transport Association. 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1DB7E29-6758-4FB6-9E0A-4D8EA016E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689371B1-7205-42A0-A4A4-D8FFE0AF0ED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44726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_rels/slideMaster6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75.xml"/><Relationship Id="rId21" Type="http://schemas.openxmlformats.org/officeDocument/2006/relationships/slideLayout" Target="../slideLayouts/slideLayout79.xml"/><Relationship Id="rId42" Type="http://schemas.openxmlformats.org/officeDocument/2006/relationships/slideLayout" Target="../slideLayouts/slideLayout100.xml"/><Relationship Id="rId63" Type="http://schemas.openxmlformats.org/officeDocument/2006/relationships/slideLayout" Target="../slideLayouts/slideLayout121.xml"/><Relationship Id="rId84" Type="http://schemas.openxmlformats.org/officeDocument/2006/relationships/slideLayout" Target="../slideLayouts/slideLayout142.xml"/><Relationship Id="rId138" Type="http://schemas.openxmlformats.org/officeDocument/2006/relationships/slideLayout" Target="../slideLayouts/slideLayout196.xml"/><Relationship Id="rId159" Type="http://schemas.openxmlformats.org/officeDocument/2006/relationships/slideLayout" Target="../slideLayouts/slideLayout217.xml"/><Relationship Id="rId170" Type="http://schemas.openxmlformats.org/officeDocument/2006/relationships/slideLayout" Target="../slideLayouts/slideLayout228.xml"/><Relationship Id="rId107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90.xml"/><Relationship Id="rId53" Type="http://schemas.openxmlformats.org/officeDocument/2006/relationships/slideLayout" Target="../slideLayouts/slideLayout111.xml"/><Relationship Id="rId74" Type="http://schemas.openxmlformats.org/officeDocument/2006/relationships/slideLayout" Target="../slideLayouts/slideLayout132.xml"/><Relationship Id="rId128" Type="http://schemas.openxmlformats.org/officeDocument/2006/relationships/slideLayout" Target="../slideLayouts/slideLayout186.xml"/><Relationship Id="rId149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63.xml"/><Relationship Id="rId95" Type="http://schemas.openxmlformats.org/officeDocument/2006/relationships/slideLayout" Target="../slideLayouts/slideLayout153.xml"/><Relationship Id="rId160" Type="http://schemas.openxmlformats.org/officeDocument/2006/relationships/slideLayout" Target="../slideLayouts/slideLayout218.xml"/><Relationship Id="rId22" Type="http://schemas.openxmlformats.org/officeDocument/2006/relationships/slideLayout" Target="../slideLayouts/slideLayout80.xml"/><Relationship Id="rId43" Type="http://schemas.openxmlformats.org/officeDocument/2006/relationships/slideLayout" Target="../slideLayouts/slideLayout101.xml"/><Relationship Id="rId64" Type="http://schemas.openxmlformats.org/officeDocument/2006/relationships/slideLayout" Target="../slideLayouts/slideLayout122.xml"/><Relationship Id="rId118" Type="http://schemas.openxmlformats.org/officeDocument/2006/relationships/slideLayout" Target="../slideLayouts/slideLayout176.xml"/><Relationship Id="rId139" Type="http://schemas.openxmlformats.org/officeDocument/2006/relationships/slideLayout" Target="../slideLayouts/slideLayout197.xml"/><Relationship Id="rId85" Type="http://schemas.openxmlformats.org/officeDocument/2006/relationships/slideLayout" Target="../slideLayouts/slideLayout143.xml"/><Relationship Id="rId150" Type="http://schemas.openxmlformats.org/officeDocument/2006/relationships/slideLayout" Target="../slideLayouts/slideLayout208.xml"/><Relationship Id="rId171" Type="http://schemas.openxmlformats.org/officeDocument/2006/relationships/slideLayout" Target="../slideLayouts/slideLayout229.xml"/><Relationship Id="rId12" Type="http://schemas.openxmlformats.org/officeDocument/2006/relationships/slideLayout" Target="../slideLayouts/slideLayout70.xml"/><Relationship Id="rId33" Type="http://schemas.openxmlformats.org/officeDocument/2006/relationships/slideLayout" Target="../slideLayouts/slideLayout91.xml"/><Relationship Id="rId108" Type="http://schemas.openxmlformats.org/officeDocument/2006/relationships/slideLayout" Target="../slideLayouts/slideLayout166.xml"/><Relationship Id="rId129" Type="http://schemas.openxmlformats.org/officeDocument/2006/relationships/slideLayout" Target="../slideLayouts/slideLayout187.xml"/><Relationship Id="rId54" Type="http://schemas.openxmlformats.org/officeDocument/2006/relationships/slideLayout" Target="../slideLayouts/slideLayout112.xml"/><Relationship Id="rId75" Type="http://schemas.openxmlformats.org/officeDocument/2006/relationships/slideLayout" Target="../slideLayouts/slideLayout133.xml"/><Relationship Id="rId96" Type="http://schemas.openxmlformats.org/officeDocument/2006/relationships/slideLayout" Target="../slideLayouts/slideLayout154.xml"/><Relationship Id="rId140" Type="http://schemas.openxmlformats.org/officeDocument/2006/relationships/slideLayout" Target="../slideLayouts/slideLayout198.xml"/><Relationship Id="rId161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49" Type="http://schemas.openxmlformats.org/officeDocument/2006/relationships/slideLayout" Target="../slideLayouts/slideLayout107.xml"/><Relationship Id="rId114" Type="http://schemas.openxmlformats.org/officeDocument/2006/relationships/slideLayout" Target="../slideLayouts/slideLayout172.xml"/><Relationship Id="rId119" Type="http://schemas.openxmlformats.org/officeDocument/2006/relationships/slideLayout" Target="../slideLayouts/slideLayout177.xml"/><Relationship Id="rId44" Type="http://schemas.openxmlformats.org/officeDocument/2006/relationships/slideLayout" Target="../slideLayouts/slideLayout102.xml"/><Relationship Id="rId60" Type="http://schemas.openxmlformats.org/officeDocument/2006/relationships/slideLayout" Target="../slideLayouts/slideLayout118.xml"/><Relationship Id="rId65" Type="http://schemas.openxmlformats.org/officeDocument/2006/relationships/slideLayout" Target="../slideLayouts/slideLayout123.xml"/><Relationship Id="rId81" Type="http://schemas.openxmlformats.org/officeDocument/2006/relationships/slideLayout" Target="../slideLayouts/slideLayout139.xml"/><Relationship Id="rId86" Type="http://schemas.openxmlformats.org/officeDocument/2006/relationships/slideLayout" Target="../slideLayouts/slideLayout144.xml"/><Relationship Id="rId130" Type="http://schemas.openxmlformats.org/officeDocument/2006/relationships/slideLayout" Target="../slideLayouts/slideLayout188.xml"/><Relationship Id="rId135" Type="http://schemas.openxmlformats.org/officeDocument/2006/relationships/slideLayout" Target="../slideLayouts/slideLayout193.xml"/><Relationship Id="rId151" Type="http://schemas.openxmlformats.org/officeDocument/2006/relationships/slideLayout" Target="../slideLayouts/slideLayout209.xml"/><Relationship Id="rId156" Type="http://schemas.openxmlformats.org/officeDocument/2006/relationships/slideLayout" Target="../slideLayouts/slideLayout214.xml"/><Relationship Id="rId172" Type="http://schemas.openxmlformats.org/officeDocument/2006/relationships/slideLayout" Target="../slideLayouts/slideLayout230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39" Type="http://schemas.openxmlformats.org/officeDocument/2006/relationships/slideLayout" Target="../slideLayouts/slideLayout97.xml"/><Relationship Id="rId109" Type="http://schemas.openxmlformats.org/officeDocument/2006/relationships/slideLayout" Target="../slideLayouts/slideLayout167.xml"/><Relationship Id="rId34" Type="http://schemas.openxmlformats.org/officeDocument/2006/relationships/slideLayout" Target="../slideLayouts/slideLayout92.xml"/><Relationship Id="rId50" Type="http://schemas.openxmlformats.org/officeDocument/2006/relationships/slideLayout" Target="../slideLayouts/slideLayout108.xml"/><Relationship Id="rId55" Type="http://schemas.openxmlformats.org/officeDocument/2006/relationships/slideLayout" Target="../slideLayouts/slideLayout113.xml"/><Relationship Id="rId76" Type="http://schemas.openxmlformats.org/officeDocument/2006/relationships/slideLayout" Target="../slideLayouts/slideLayout134.xml"/><Relationship Id="rId97" Type="http://schemas.openxmlformats.org/officeDocument/2006/relationships/slideLayout" Target="../slideLayouts/slideLayout155.xml"/><Relationship Id="rId104" Type="http://schemas.openxmlformats.org/officeDocument/2006/relationships/slideLayout" Target="../slideLayouts/slideLayout162.xml"/><Relationship Id="rId120" Type="http://schemas.openxmlformats.org/officeDocument/2006/relationships/slideLayout" Target="../slideLayouts/slideLayout178.xml"/><Relationship Id="rId125" Type="http://schemas.openxmlformats.org/officeDocument/2006/relationships/slideLayout" Target="../slideLayouts/slideLayout183.xml"/><Relationship Id="rId141" Type="http://schemas.openxmlformats.org/officeDocument/2006/relationships/slideLayout" Target="../slideLayouts/slideLayout199.xml"/><Relationship Id="rId146" Type="http://schemas.openxmlformats.org/officeDocument/2006/relationships/slideLayout" Target="../slideLayouts/slideLayout204.xml"/><Relationship Id="rId167" Type="http://schemas.openxmlformats.org/officeDocument/2006/relationships/slideLayout" Target="../slideLayouts/slideLayout225.xml"/><Relationship Id="rId7" Type="http://schemas.openxmlformats.org/officeDocument/2006/relationships/slideLayout" Target="../slideLayouts/slideLayout65.xml"/><Relationship Id="rId71" Type="http://schemas.openxmlformats.org/officeDocument/2006/relationships/slideLayout" Target="../slideLayouts/slideLayout129.xml"/><Relationship Id="rId92" Type="http://schemas.openxmlformats.org/officeDocument/2006/relationships/slideLayout" Target="../slideLayouts/slideLayout150.xml"/><Relationship Id="rId162" Type="http://schemas.openxmlformats.org/officeDocument/2006/relationships/slideLayout" Target="../slideLayouts/slideLayout220.xml"/><Relationship Id="rId2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82.xml"/><Relationship Id="rId40" Type="http://schemas.openxmlformats.org/officeDocument/2006/relationships/slideLayout" Target="../slideLayouts/slideLayout98.xml"/><Relationship Id="rId45" Type="http://schemas.openxmlformats.org/officeDocument/2006/relationships/slideLayout" Target="../slideLayouts/slideLayout103.xml"/><Relationship Id="rId66" Type="http://schemas.openxmlformats.org/officeDocument/2006/relationships/slideLayout" Target="../slideLayouts/slideLayout124.xml"/><Relationship Id="rId87" Type="http://schemas.openxmlformats.org/officeDocument/2006/relationships/slideLayout" Target="../slideLayouts/slideLayout145.xml"/><Relationship Id="rId110" Type="http://schemas.openxmlformats.org/officeDocument/2006/relationships/slideLayout" Target="../slideLayouts/slideLayout168.xml"/><Relationship Id="rId115" Type="http://schemas.openxmlformats.org/officeDocument/2006/relationships/slideLayout" Target="../slideLayouts/slideLayout173.xml"/><Relationship Id="rId131" Type="http://schemas.openxmlformats.org/officeDocument/2006/relationships/slideLayout" Target="../slideLayouts/slideLayout189.xml"/><Relationship Id="rId136" Type="http://schemas.openxmlformats.org/officeDocument/2006/relationships/slideLayout" Target="../slideLayouts/slideLayout194.xml"/><Relationship Id="rId157" Type="http://schemas.openxmlformats.org/officeDocument/2006/relationships/slideLayout" Target="../slideLayouts/slideLayout215.xml"/><Relationship Id="rId61" Type="http://schemas.openxmlformats.org/officeDocument/2006/relationships/slideLayout" Target="../slideLayouts/slideLayout119.xml"/><Relationship Id="rId82" Type="http://schemas.openxmlformats.org/officeDocument/2006/relationships/slideLayout" Target="../slideLayouts/slideLayout140.xml"/><Relationship Id="rId152" Type="http://schemas.openxmlformats.org/officeDocument/2006/relationships/slideLayout" Target="../slideLayouts/slideLayout210.xml"/><Relationship Id="rId173" Type="http://schemas.openxmlformats.org/officeDocument/2006/relationships/slideLayout" Target="../slideLayouts/slideLayout231.xml"/><Relationship Id="rId1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88.xml"/><Relationship Id="rId35" Type="http://schemas.openxmlformats.org/officeDocument/2006/relationships/slideLayout" Target="../slideLayouts/slideLayout93.xml"/><Relationship Id="rId56" Type="http://schemas.openxmlformats.org/officeDocument/2006/relationships/slideLayout" Target="../slideLayouts/slideLayout114.xml"/><Relationship Id="rId77" Type="http://schemas.openxmlformats.org/officeDocument/2006/relationships/slideLayout" Target="../slideLayouts/slideLayout135.xml"/><Relationship Id="rId100" Type="http://schemas.openxmlformats.org/officeDocument/2006/relationships/slideLayout" Target="../slideLayouts/slideLayout158.xml"/><Relationship Id="rId105" Type="http://schemas.openxmlformats.org/officeDocument/2006/relationships/slideLayout" Target="../slideLayouts/slideLayout163.xml"/><Relationship Id="rId126" Type="http://schemas.openxmlformats.org/officeDocument/2006/relationships/slideLayout" Target="../slideLayouts/slideLayout184.xml"/><Relationship Id="rId147" Type="http://schemas.openxmlformats.org/officeDocument/2006/relationships/slideLayout" Target="../slideLayouts/slideLayout205.xml"/><Relationship Id="rId168" Type="http://schemas.openxmlformats.org/officeDocument/2006/relationships/slideLayout" Target="../slideLayouts/slideLayout226.xml"/><Relationship Id="rId8" Type="http://schemas.openxmlformats.org/officeDocument/2006/relationships/slideLayout" Target="../slideLayouts/slideLayout66.xml"/><Relationship Id="rId51" Type="http://schemas.openxmlformats.org/officeDocument/2006/relationships/slideLayout" Target="../slideLayouts/slideLayout109.xml"/><Relationship Id="rId72" Type="http://schemas.openxmlformats.org/officeDocument/2006/relationships/slideLayout" Target="../slideLayouts/slideLayout130.xml"/><Relationship Id="rId93" Type="http://schemas.openxmlformats.org/officeDocument/2006/relationships/slideLayout" Target="../slideLayouts/slideLayout151.xml"/><Relationship Id="rId98" Type="http://schemas.openxmlformats.org/officeDocument/2006/relationships/slideLayout" Target="../slideLayouts/slideLayout156.xml"/><Relationship Id="rId121" Type="http://schemas.openxmlformats.org/officeDocument/2006/relationships/slideLayout" Target="../slideLayouts/slideLayout179.xml"/><Relationship Id="rId142" Type="http://schemas.openxmlformats.org/officeDocument/2006/relationships/slideLayout" Target="../slideLayouts/slideLayout200.xml"/><Relationship Id="rId163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83.xml"/><Relationship Id="rId46" Type="http://schemas.openxmlformats.org/officeDocument/2006/relationships/slideLayout" Target="../slideLayouts/slideLayout104.xml"/><Relationship Id="rId67" Type="http://schemas.openxmlformats.org/officeDocument/2006/relationships/slideLayout" Target="../slideLayouts/slideLayout125.xml"/><Relationship Id="rId116" Type="http://schemas.openxmlformats.org/officeDocument/2006/relationships/slideLayout" Target="../slideLayouts/slideLayout174.xml"/><Relationship Id="rId137" Type="http://schemas.openxmlformats.org/officeDocument/2006/relationships/slideLayout" Target="../slideLayouts/slideLayout195.xml"/><Relationship Id="rId158" Type="http://schemas.openxmlformats.org/officeDocument/2006/relationships/slideLayout" Target="../slideLayouts/slideLayout216.xml"/><Relationship Id="rId20" Type="http://schemas.openxmlformats.org/officeDocument/2006/relationships/slideLayout" Target="../slideLayouts/slideLayout78.xml"/><Relationship Id="rId41" Type="http://schemas.openxmlformats.org/officeDocument/2006/relationships/slideLayout" Target="../slideLayouts/slideLayout99.xml"/><Relationship Id="rId62" Type="http://schemas.openxmlformats.org/officeDocument/2006/relationships/slideLayout" Target="../slideLayouts/slideLayout120.xml"/><Relationship Id="rId83" Type="http://schemas.openxmlformats.org/officeDocument/2006/relationships/slideLayout" Target="../slideLayouts/slideLayout141.xml"/><Relationship Id="rId88" Type="http://schemas.openxmlformats.org/officeDocument/2006/relationships/slideLayout" Target="../slideLayouts/slideLayout146.xml"/><Relationship Id="rId111" Type="http://schemas.openxmlformats.org/officeDocument/2006/relationships/slideLayout" Target="../slideLayouts/slideLayout169.xml"/><Relationship Id="rId132" Type="http://schemas.openxmlformats.org/officeDocument/2006/relationships/slideLayout" Target="../slideLayouts/slideLayout190.xml"/><Relationship Id="rId153" Type="http://schemas.openxmlformats.org/officeDocument/2006/relationships/slideLayout" Target="../slideLayouts/slideLayout211.xml"/><Relationship Id="rId174" Type="http://schemas.openxmlformats.org/officeDocument/2006/relationships/slideLayout" Target="../slideLayouts/slideLayout232.xml"/><Relationship Id="rId15" Type="http://schemas.openxmlformats.org/officeDocument/2006/relationships/slideLayout" Target="../slideLayouts/slideLayout73.xml"/><Relationship Id="rId36" Type="http://schemas.openxmlformats.org/officeDocument/2006/relationships/slideLayout" Target="../slideLayouts/slideLayout94.xml"/><Relationship Id="rId57" Type="http://schemas.openxmlformats.org/officeDocument/2006/relationships/slideLayout" Target="../slideLayouts/slideLayout115.xml"/><Relationship Id="rId106" Type="http://schemas.openxmlformats.org/officeDocument/2006/relationships/slideLayout" Target="../slideLayouts/slideLayout164.xml"/><Relationship Id="rId127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9.xml"/><Relationship Id="rId52" Type="http://schemas.openxmlformats.org/officeDocument/2006/relationships/slideLayout" Target="../slideLayouts/slideLayout110.xml"/><Relationship Id="rId73" Type="http://schemas.openxmlformats.org/officeDocument/2006/relationships/slideLayout" Target="../slideLayouts/slideLayout131.xml"/><Relationship Id="rId78" Type="http://schemas.openxmlformats.org/officeDocument/2006/relationships/slideLayout" Target="../slideLayouts/slideLayout136.xml"/><Relationship Id="rId94" Type="http://schemas.openxmlformats.org/officeDocument/2006/relationships/slideLayout" Target="../slideLayouts/slideLayout152.xml"/><Relationship Id="rId99" Type="http://schemas.openxmlformats.org/officeDocument/2006/relationships/slideLayout" Target="../slideLayouts/slideLayout157.xml"/><Relationship Id="rId101" Type="http://schemas.openxmlformats.org/officeDocument/2006/relationships/slideLayout" Target="../slideLayouts/slideLayout159.xml"/><Relationship Id="rId122" Type="http://schemas.openxmlformats.org/officeDocument/2006/relationships/slideLayout" Target="../slideLayouts/slideLayout180.xml"/><Relationship Id="rId143" Type="http://schemas.openxmlformats.org/officeDocument/2006/relationships/slideLayout" Target="../slideLayouts/slideLayout201.xml"/><Relationship Id="rId148" Type="http://schemas.openxmlformats.org/officeDocument/2006/relationships/slideLayout" Target="../slideLayouts/slideLayout206.xml"/><Relationship Id="rId164" Type="http://schemas.openxmlformats.org/officeDocument/2006/relationships/slideLayout" Target="../slideLayouts/slideLayout222.xml"/><Relationship Id="rId169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84.xml"/><Relationship Id="rId47" Type="http://schemas.openxmlformats.org/officeDocument/2006/relationships/slideLayout" Target="../slideLayouts/slideLayout105.xml"/><Relationship Id="rId68" Type="http://schemas.openxmlformats.org/officeDocument/2006/relationships/slideLayout" Target="../slideLayouts/slideLayout126.xml"/><Relationship Id="rId89" Type="http://schemas.openxmlformats.org/officeDocument/2006/relationships/slideLayout" Target="../slideLayouts/slideLayout147.xml"/><Relationship Id="rId112" Type="http://schemas.openxmlformats.org/officeDocument/2006/relationships/slideLayout" Target="../slideLayouts/slideLayout170.xml"/><Relationship Id="rId133" Type="http://schemas.openxmlformats.org/officeDocument/2006/relationships/slideLayout" Target="../slideLayouts/slideLayout191.xml"/><Relationship Id="rId154" Type="http://schemas.openxmlformats.org/officeDocument/2006/relationships/slideLayout" Target="../slideLayouts/slideLayout212.xml"/><Relationship Id="rId175" Type="http://schemas.openxmlformats.org/officeDocument/2006/relationships/theme" Target="../theme/theme6.xml"/><Relationship Id="rId16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95.xml"/><Relationship Id="rId58" Type="http://schemas.openxmlformats.org/officeDocument/2006/relationships/slideLayout" Target="../slideLayouts/slideLayout116.xml"/><Relationship Id="rId79" Type="http://schemas.openxmlformats.org/officeDocument/2006/relationships/slideLayout" Target="../slideLayouts/slideLayout137.xml"/><Relationship Id="rId102" Type="http://schemas.openxmlformats.org/officeDocument/2006/relationships/slideLayout" Target="../slideLayouts/slideLayout160.xml"/><Relationship Id="rId123" Type="http://schemas.openxmlformats.org/officeDocument/2006/relationships/slideLayout" Target="../slideLayouts/slideLayout181.xml"/><Relationship Id="rId144" Type="http://schemas.openxmlformats.org/officeDocument/2006/relationships/slideLayout" Target="../slideLayouts/slideLayout202.xml"/><Relationship Id="rId90" Type="http://schemas.openxmlformats.org/officeDocument/2006/relationships/slideLayout" Target="../slideLayouts/slideLayout148.xml"/><Relationship Id="rId165" Type="http://schemas.openxmlformats.org/officeDocument/2006/relationships/slideLayout" Target="../slideLayouts/slideLayout223.xml"/><Relationship Id="rId27" Type="http://schemas.openxmlformats.org/officeDocument/2006/relationships/slideLayout" Target="../slideLayouts/slideLayout85.xml"/><Relationship Id="rId48" Type="http://schemas.openxmlformats.org/officeDocument/2006/relationships/slideLayout" Target="../slideLayouts/slideLayout106.xml"/><Relationship Id="rId69" Type="http://schemas.openxmlformats.org/officeDocument/2006/relationships/slideLayout" Target="../slideLayouts/slideLayout127.xml"/><Relationship Id="rId113" Type="http://schemas.openxmlformats.org/officeDocument/2006/relationships/slideLayout" Target="../slideLayouts/slideLayout171.xml"/><Relationship Id="rId134" Type="http://schemas.openxmlformats.org/officeDocument/2006/relationships/slideLayout" Target="../slideLayouts/slideLayout192.xml"/><Relationship Id="rId80" Type="http://schemas.openxmlformats.org/officeDocument/2006/relationships/slideLayout" Target="../slideLayouts/slideLayout138.xml"/><Relationship Id="rId155" Type="http://schemas.openxmlformats.org/officeDocument/2006/relationships/slideLayout" Target="../slideLayouts/slideLayout213.xml"/><Relationship Id="rId17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96.xml"/><Relationship Id="rId59" Type="http://schemas.openxmlformats.org/officeDocument/2006/relationships/slideLayout" Target="../slideLayouts/slideLayout117.xml"/><Relationship Id="rId103" Type="http://schemas.openxmlformats.org/officeDocument/2006/relationships/slideLayout" Target="../slideLayouts/slideLayout161.xml"/><Relationship Id="rId124" Type="http://schemas.openxmlformats.org/officeDocument/2006/relationships/slideLayout" Target="../slideLayouts/slideLayout182.xml"/><Relationship Id="rId70" Type="http://schemas.openxmlformats.org/officeDocument/2006/relationships/slideLayout" Target="../slideLayouts/slideLayout128.xml"/><Relationship Id="rId91" Type="http://schemas.openxmlformats.org/officeDocument/2006/relationships/slideLayout" Target="../slideLayouts/slideLayout149.xml"/><Relationship Id="rId145" Type="http://schemas.openxmlformats.org/officeDocument/2006/relationships/slideLayout" Target="../slideLayouts/slideLayout203.xml"/><Relationship Id="rId166" Type="http://schemas.openxmlformats.org/officeDocument/2006/relationships/slideLayout" Target="../slideLayouts/slideLayout224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5.xml"/><Relationship Id="rId18" Type="http://schemas.openxmlformats.org/officeDocument/2006/relationships/slideLayout" Target="../slideLayouts/slideLayout250.xml"/><Relationship Id="rId26" Type="http://schemas.openxmlformats.org/officeDocument/2006/relationships/slideLayout" Target="../slideLayouts/slideLayout258.xml"/><Relationship Id="rId3" Type="http://schemas.openxmlformats.org/officeDocument/2006/relationships/slideLayout" Target="../slideLayouts/slideLayout235.xml"/><Relationship Id="rId21" Type="http://schemas.openxmlformats.org/officeDocument/2006/relationships/slideLayout" Target="../slideLayouts/slideLayout253.xml"/><Relationship Id="rId34" Type="http://schemas.openxmlformats.org/officeDocument/2006/relationships/slideLayout" Target="../slideLayouts/slideLayout266.xml"/><Relationship Id="rId7" Type="http://schemas.openxmlformats.org/officeDocument/2006/relationships/slideLayout" Target="../slideLayouts/slideLayout239.xml"/><Relationship Id="rId12" Type="http://schemas.openxmlformats.org/officeDocument/2006/relationships/slideLayout" Target="../slideLayouts/slideLayout244.xml"/><Relationship Id="rId17" Type="http://schemas.openxmlformats.org/officeDocument/2006/relationships/slideLayout" Target="../slideLayouts/slideLayout249.xml"/><Relationship Id="rId25" Type="http://schemas.openxmlformats.org/officeDocument/2006/relationships/slideLayout" Target="../slideLayouts/slideLayout257.xml"/><Relationship Id="rId33" Type="http://schemas.openxmlformats.org/officeDocument/2006/relationships/slideLayout" Target="../slideLayouts/slideLayout265.xml"/><Relationship Id="rId2" Type="http://schemas.openxmlformats.org/officeDocument/2006/relationships/slideLayout" Target="../slideLayouts/slideLayout234.xml"/><Relationship Id="rId16" Type="http://schemas.openxmlformats.org/officeDocument/2006/relationships/slideLayout" Target="../slideLayouts/slideLayout248.xml"/><Relationship Id="rId20" Type="http://schemas.openxmlformats.org/officeDocument/2006/relationships/slideLayout" Target="../slideLayouts/slideLayout252.xml"/><Relationship Id="rId29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24" Type="http://schemas.openxmlformats.org/officeDocument/2006/relationships/slideLayout" Target="../slideLayouts/slideLayout256.xml"/><Relationship Id="rId32" Type="http://schemas.openxmlformats.org/officeDocument/2006/relationships/slideLayout" Target="../slideLayouts/slideLayout264.xml"/><Relationship Id="rId5" Type="http://schemas.openxmlformats.org/officeDocument/2006/relationships/slideLayout" Target="../slideLayouts/slideLayout237.xml"/><Relationship Id="rId15" Type="http://schemas.openxmlformats.org/officeDocument/2006/relationships/slideLayout" Target="../slideLayouts/slideLayout247.xml"/><Relationship Id="rId23" Type="http://schemas.openxmlformats.org/officeDocument/2006/relationships/slideLayout" Target="../slideLayouts/slideLayout255.xml"/><Relationship Id="rId28" Type="http://schemas.openxmlformats.org/officeDocument/2006/relationships/slideLayout" Target="../slideLayouts/slideLayout260.xml"/><Relationship Id="rId10" Type="http://schemas.openxmlformats.org/officeDocument/2006/relationships/slideLayout" Target="../slideLayouts/slideLayout242.xml"/><Relationship Id="rId19" Type="http://schemas.openxmlformats.org/officeDocument/2006/relationships/slideLayout" Target="../slideLayouts/slideLayout251.xml"/><Relationship Id="rId31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slideLayout" Target="../slideLayouts/slideLayout246.xml"/><Relationship Id="rId22" Type="http://schemas.openxmlformats.org/officeDocument/2006/relationships/slideLayout" Target="../slideLayouts/slideLayout254.xml"/><Relationship Id="rId27" Type="http://schemas.openxmlformats.org/officeDocument/2006/relationships/slideLayout" Target="../slideLayouts/slideLayout259.xml"/><Relationship Id="rId30" Type="http://schemas.openxmlformats.org/officeDocument/2006/relationships/slideLayout" Target="../slideLayouts/slideLayout262.xml"/><Relationship Id="rId35" Type="http://schemas.openxmlformats.org/officeDocument/2006/relationships/theme" Target="../theme/theme7.xml"/><Relationship Id="rId8" Type="http://schemas.openxmlformats.org/officeDocument/2006/relationships/slideLayout" Target="../slideLayouts/slideLayout2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55E895B-6DD0-4429-97EC-E88A5C6D1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55352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2" imgW="498" imgH="499" progId="TCLayout.ActiveDocument.1">
                  <p:embed/>
                </p:oleObj>
              </mc:Choice>
              <mc:Fallback>
                <p:oleObj name="think-cell Slide" r:id="rId12" imgW="498" imgH="49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55E895B-6DD0-4429-97EC-E88A5C6D1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71DE7C4-EADF-49A5-94C9-295DA7102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29324" cy="6093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0999" y="1485900"/>
            <a:ext cx="11429325" cy="426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5D38B6-3878-4DD8-B8F9-92C491ABF8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0" y="6162324"/>
            <a:ext cx="27432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>
                <a:solidFill>
                  <a:schemeClr val="accent1"/>
                </a:solidFill>
              </a:defRPr>
            </a:lvl1pPr>
          </a:lstStyle>
          <a:p>
            <a:fld id="{D8F5EBA1-C1C2-4F6F-970D-CFE4A81E1DB0}" type="datetime3">
              <a:rPr lang="en-US" smtClean="0"/>
              <a:pPr/>
              <a:t>30 November 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054503-8F56-486A-BEEB-415EA4A643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55370" y="6162324"/>
            <a:ext cx="495013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259C21-CE9A-4D3A-AB80-ABF8F4D8A7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1000" y="6162324"/>
            <a:ext cx="4572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2202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650" r:id="rId2"/>
    <p:sldLayoutId id="2147483652" r:id="rId3"/>
    <p:sldLayoutId id="2147483654" r:id="rId4"/>
    <p:sldLayoutId id="2147483655" r:id="rId5"/>
    <p:sldLayoutId id="2147483791" r:id="rId6"/>
    <p:sldLayoutId id="2147483925" r:id="rId7"/>
    <p:sldLayoutId id="2147483927" r:id="rId8"/>
  </p:sldLayoutIdLst>
  <p:transition>
    <p:fade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98513" indent="-228600" algn="l" defTabSz="914400" rtl="0" eaLnBrk="1" latinLnBrk="0" hangingPunct="1">
        <a:lnSpc>
          <a:spcPct val="90000"/>
        </a:lnSpc>
        <a:spcBef>
          <a:spcPts val="500"/>
        </a:spcBef>
        <a:buFont typeface="Aktiv Grotesk Medium" panose="020B05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228600" algn="l" defTabSz="914400" rtl="0" eaLnBrk="1" latinLnBrk="0" hangingPunct="1">
        <a:lnSpc>
          <a:spcPct val="90000"/>
        </a:lnSpc>
        <a:spcBef>
          <a:spcPts val="500"/>
        </a:spcBef>
        <a:buFont typeface="Aktiv Grotesk Medium" panose="020B0504020202020204" pitchFamily="34" charset="0"/>
        <a:buChar char="▪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240" userDrawn="1">
          <p15:clr>
            <a:srgbClr val="5ACBF0"/>
          </p15:clr>
        </p15:guide>
        <p15:guide id="4" pos="240" userDrawn="1">
          <p15:clr>
            <a:srgbClr val="5ACBF0"/>
          </p15:clr>
        </p15:guide>
        <p15:guide id="5" pos="7440" userDrawn="1">
          <p15:clr>
            <a:srgbClr val="5ACBF0"/>
          </p15:clr>
        </p15:guide>
        <p15:guide id="6" pos="3720" userDrawn="1">
          <p15:clr>
            <a:srgbClr val="5ACBF0"/>
          </p15:clr>
        </p15:guide>
        <p15:guide id="7" pos="3960" userDrawn="1">
          <p15:clr>
            <a:srgbClr val="5ACBF0"/>
          </p15:clr>
        </p15:guide>
        <p15:guide id="8" orient="horz" pos="528" userDrawn="1">
          <p15:clr>
            <a:srgbClr val="5ACBF0"/>
          </p15:clr>
        </p15:guide>
        <p15:guide id="9" orient="horz" pos="936" userDrawn="1">
          <p15:clr>
            <a:srgbClr val="5ACBF0"/>
          </p15:clr>
        </p15:guide>
        <p15:guide id="10" orient="horz" pos="3624" userDrawn="1">
          <p15:clr>
            <a:srgbClr val="5ACBF0"/>
          </p15:clr>
        </p15:guide>
        <p15:guide id="11" orient="horz" pos="4080" userDrawn="1">
          <p15:clr>
            <a:srgbClr val="5ACBF0"/>
          </p15:clr>
        </p15:guide>
        <p15:guide id="12" orient="horz" pos="1200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978035-49FB-4CBB-9810-8B5B1819D1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768711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28" imgW="498" imgH="499" progId="TCLayout.ActiveDocument.1">
                  <p:embed/>
                </p:oleObj>
              </mc:Choice>
              <mc:Fallback>
                <p:oleObj name="think-cell Slide" r:id="rId28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978035-49FB-4CBB-9810-8B5B1819D1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71DE7C4-EADF-49A5-94C9-295DA7102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1" y="365125"/>
            <a:ext cx="11429324" cy="6093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0999" y="1485901"/>
            <a:ext cx="11429325" cy="426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A3FF494F-FF18-4209-A006-939CF4C8BCE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0855910" y="5753101"/>
            <a:ext cx="954414" cy="642423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7536" tIns="48768" rIns="97536" bIns="48768" numCol="1" anchor="t" anchorCtr="0" compatLnSpc="1">
            <a:prstTxWarp prst="textNoShape">
              <a:avLst/>
            </a:prstTxWarp>
          </a:bodyPr>
          <a:lstStyle/>
          <a:p>
            <a:endParaRPr lang="en-GB" sz="1920"/>
          </a:p>
        </p:txBody>
      </p:sp>
    </p:spTree>
    <p:extLst>
      <p:ext uri="{BB962C8B-B14F-4D97-AF65-F5344CB8AC3E}">
        <p14:creationId xmlns:p14="http://schemas.microsoft.com/office/powerpoint/2010/main" val="3473569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  <p:sldLayoutId id="2147483912" r:id="rId12"/>
    <p:sldLayoutId id="2147483913" r:id="rId13"/>
    <p:sldLayoutId id="2147483914" r:id="rId14"/>
    <p:sldLayoutId id="2147483915" r:id="rId15"/>
    <p:sldLayoutId id="2147483916" r:id="rId16"/>
    <p:sldLayoutId id="2147483917" r:id="rId17"/>
    <p:sldLayoutId id="2147483918" r:id="rId18"/>
    <p:sldLayoutId id="2147483919" r:id="rId19"/>
    <p:sldLayoutId id="2147483920" r:id="rId20"/>
    <p:sldLayoutId id="2147483921" r:id="rId21"/>
    <p:sldLayoutId id="2147483922" r:id="rId22"/>
    <p:sldLayoutId id="2147483923" r:id="rId23"/>
    <p:sldLayoutId id="2147483924" r:id="rId24"/>
  </p:sldLayoutIdLst>
  <p:transition>
    <p:fade/>
  </p:transition>
  <p:hf hdr="0"/>
  <p:txStyles>
    <p:titleStyle>
      <a:lvl1pPr algn="l" defTabSz="975390" rtl="0" eaLnBrk="1" latinLnBrk="0" hangingPunct="1">
        <a:lnSpc>
          <a:spcPct val="90000"/>
        </a:lnSpc>
        <a:spcBef>
          <a:spcPct val="0"/>
        </a:spcBef>
        <a:buNone/>
        <a:defRPr sz="4693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75390" rtl="0" eaLnBrk="1" latinLnBrk="0" hangingPunct="1">
        <a:lnSpc>
          <a:spcPct val="90000"/>
        </a:lnSpc>
        <a:spcBef>
          <a:spcPts val="1067"/>
        </a:spcBef>
        <a:buFont typeface="Arial" panose="020B0604020202020204" pitchFamily="34" charset="0"/>
        <a:buNone/>
        <a:defRPr sz="2773" kern="1200">
          <a:solidFill>
            <a:schemeClr val="tx1"/>
          </a:solidFill>
          <a:latin typeface="+mn-lt"/>
          <a:ea typeface="+mn-ea"/>
          <a:cs typeface="+mn-cs"/>
        </a:defRPr>
      </a:lvl1pPr>
      <a:lvl2pPr marL="548657" indent="-243848" algn="l" defTabSz="97539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2pPr>
      <a:lvl3pPr marL="851774" indent="-243848" algn="l" defTabSz="975390" rtl="0" eaLnBrk="1" latinLnBrk="0" hangingPunct="1">
        <a:lnSpc>
          <a:spcPct val="90000"/>
        </a:lnSpc>
        <a:spcBef>
          <a:spcPts val="533"/>
        </a:spcBef>
        <a:buFont typeface="Aktiv Grotesk Medium" panose="020B0504020202020204" pitchFamily="34" charset="0"/>
        <a:buChar char="–"/>
        <a:defRPr sz="2560" kern="1200">
          <a:solidFill>
            <a:schemeClr val="tx1"/>
          </a:solidFill>
          <a:latin typeface="+mn-lt"/>
          <a:ea typeface="+mn-ea"/>
          <a:cs typeface="+mn-cs"/>
        </a:defRPr>
      </a:lvl3pPr>
      <a:lvl4pPr marL="1281894" indent="-243848" algn="l" defTabSz="975390" rtl="0" eaLnBrk="1" latinLnBrk="0" hangingPunct="1">
        <a:lnSpc>
          <a:spcPct val="90000"/>
        </a:lnSpc>
        <a:spcBef>
          <a:spcPts val="533"/>
        </a:spcBef>
        <a:buFont typeface="Aktiv Grotesk Medium" panose="020B0504020202020204" pitchFamily="34" charset="0"/>
        <a:buChar char="▪"/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7539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None/>
        <a:defRPr sz="256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682324" indent="-243848" algn="l" defTabSz="97539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3170019" indent="-243848" algn="l" defTabSz="97539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657714" indent="-243848" algn="l" defTabSz="97539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4145410" indent="-243848" algn="l" defTabSz="975390" rtl="0" eaLnBrk="1" latinLnBrk="0" hangingPunct="1">
        <a:lnSpc>
          <a:spcPct val="90000"/>
        </a:lnSpc>
        <a:spcBef>
          <a:spcPts val="533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1pPr>
      <a:lvl2pPr marL="487695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75390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463086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4pPr>
      <a:lvl5pPr marL="1950781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5pPr>
      <a:lvl6pPr marL="2438476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6pPr>
      <a:lvl7pPr marL="2926171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7pPr>
      <a:lvl8pPr marL="3413867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8pPr>
      <a:lvl9pPr marL="3901562" algn="l" defTabSz="975390" rtl="0" eaLnBrk="1" latinLnBrk="0" hangingPunct="1">
        <a:defRPr sz="19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84">
          <p15:clr>
            <a:srgbClr val="F26B43"/>
          </p15:clr>
        </p15:guide>
        <p15:guide id="2" pos="3600">
          <p15:clr>
            <a:srgbClr val="F26B43"/>
          </p15:clr>
        </p15:guide>
        <p15:guide id="3" orient="horz" pos="209">
          <p15:clr>
            <a:srgbClr val="5ACBF0"/>
          </p15:clr>
        </p15:guide>
        <p15:guide id="4" pos="225">
          <p15:clr>
            <a:srgbClr val="5ACBF0"/>
          </p15:clr>
        </p15:guide>
        <p15:guide id="5" pos="6975">
          <p15:clr>
            <a:srgbClr val="5ACBF0"/>
          </p15:clr>
        </p15:guide>
        <p15:guide id="6" pos="3488">
          <p15:clr>
            <a:srgbClr val="5ACBF0"/>
          </p15:clr>
        </p15:guide>
        <p15:guide id="7" pos="3713">
          <p15:clr>
            <a:srgbClr val="5ACBF0"/>
          </p15:clr>
        </p15:guide>
        <p15:guide id="8" orient="horz" pos="461">
          <p15:clr>
            <a:srgbClr val="5ACBF0"/>
          </p15:clr>
        </p15:guide>
        <p15:guide id="9" orient="horz" pos="816">
          <p15:clr>
            <a:srgbClr val="5ACBF0"/>
          </p15:clr>
        </p15:guide>
        <p15:guide id="10" orient="horz" pos="3161">
          <p15:clr>
            <a:srgbClr val="5ACBF0"/>
          </p15:clr>
        </p15:guide>
        <p15:guide id="11" orient="horz" pos="3559">
          <p15:clr>
            <a:srgbClr val="5ACBF0"/>
          </p15:clr>
        </p15:guide>
        <p15:guide id="12" orient="horz" pos="1047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>
            <a:extLst>
              <a:ext uri="{FF2B5EF4-FFF2-40B4-BE49-F238E27FC236}">
                <a16:creationId xmlns:a16="http://schemas.microsoft.com/office/drawing/2014/main" id="{85A52B46-6772-3E4D-ABBA-989711B7B79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0A4FB3-FB49-8D44-86F6-F7456E9290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947600" y="6285600"/>
            <a:ext cx="871122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4662E3C5-6C5C-B64A-8608-EE5898873FAE}" type="datetimeFigureOut">
              <a:rPr lang="en-US" smtClean="0"/>
              <a:pPr/>
              <a:t>30-Nov-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15767D-483D-F640-A089-B7F47050B8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-91747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76165" y="4621909"/>
            <a:ext cx="1916715" cy="579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-1980728" y="5221649"/>
            <a:ext cx="1916715" cy="1015663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D22630"/>
                </a:solidFill>
                <a:latin typeface="+mn-lt"/>
              </a:rPr>
              <a:t>Note</a:t>
            </a:r>
            <a:r>
              <a:rPr lang="en-GB" sz="1000" dirty="0">
                <a:solidFill>
                  <a:srgbClr val="D22630"/>
                </a:solidFill>
                <a:latin typeface="+mn-lt"/>
              </a:rPr>
              <a:t>: </a:t>
            </a:r>
            <a:r>
              <a:rPr lang="en-GB" sz="1000" dirty="0">
                <a:latin typeface="+mn-lt"/>
              </a:rPr>
              <a:t>To change text styles, place text cursor in text and choose to promote or demote level with one of</a:t>
            </a:r>
            <a:br>
              <a:rPr lang="en-GB" sz="1000" dirty="0">
                <a:latin typeface="+mn-lt"/>
              </a:rPr>
            </a:br>
            <a:r>
              <a:rPr lang="en-GB" sz="1000" dirty="0">
                <a:latin typeface="+mn-lt"/>
              </a:rPr>
              <a:t>the indicated buttons.</a:t>
            </a:r>
          </a:p>
          <a:p>
            <a:r>
              <a:rPr lang="en-GB" sz="1000" dirty="0">
                <a:latin typeface="+mn-lt"/>
              </a:rPr>
              <a:t>(located on the HOME tab)</a:t>
            </a:r>
          </a:p>
        </p:txBody>
      </p:sp>
    </p:spTree>
    <p:extLst>
      <p:ext uri="{BB962C8B-B14F-4D97-AF65-F5344CB8AC3E}">
        <p14:creationId xmlns:p14="http://schemas.microsoft.com/office/powerpoint/2010/main" val="287401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  <p:sldLayoutId id="2147483938" r:id="rId10"/>
  </p:sldLayoutIdLst>
  <p:transition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spc="-50" baseline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20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10000"/>
        <a:buFontTx/>
        <a:buNone/>
        <a:defRPr sz="20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5ACBF0"/>
          </p15:clr>
        </p15:guide>
        <p15:guide id="2" pos="3840">
          <p15:clr>
            <a:srgbClr val="5ACBF0"/>
          </p15:clr>
        </p15:guide>
        <p15:guide id="3" pos="240">
          <p15:clr>
            <a:srgbClr val="5ACBF0"/>
          </p15:clr>
        </p15:guide>
        <p15:guide id="4" pos="7434">
          <p15:clr>
            <a:srgbClr val="5ACBF0"/>
          </p15:clr>
        </p15:guide>
        <p15:guide id="5" orient="horz" pos="552">
          <p15:clr>
            <a:srgbClr val="5ACBF0"/>
          </p15:clr>
        </p15:guide>
        <p15:guide id="6" orient="horz" pos="252">
          <p15:clr>
            <a:srgbClr val="5ACBF0"/>
          </p15:clr>
        </p15:guide>
        <p15:guide id="7" orient="horz" pos="947">
          <p15:clr>
            <a:srgbClr val="5ACBF0"/>
          </p15:clr>
        </p15:guide>
        <p15:guide id="8" orient="horz" pos="3609">
          <p15:clr>
            <a:srgbClr val="5ACBF0"/>
          </p15:clr>
        </p15:guide>
        <p15:guide id="9" orient="horz" pos="4080">
          <p15:clr>
            <a:srgbClr val="5ACBF0"/>
          </p15:clr>
        </p15:guide>
        <p15:guide id="10" pos="3739">
          <p15:clr>
            <a:srgbClr val="F26B43"/>
          </p15:clr>
        </p15:guide>
        <p15:guide id="11" pos="394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262418-2027-4283-9C54-F811CA1BD28B}" type="datetimeFigureOut">
              <a:rPr lang="en-US" smtClean="0"/>
              <a:t>30-Nov-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925B54-43A0-46A4-8470-7B4D3D8CBC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149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49" r:id="rId10"/>
    <p:sldLayoutId id="214748395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0910316" y="5917691"/>
            <a:ext cx="901065" cy="563880"/>
          </a:xfrm>
          <a:custGeom>
            <a:avLst/>
            <a:gdLst/>
            <a:ahLst/>
            <a:cxnLst/>
            <a:rect l="l" t="t" r="r" b="b"/>
            <a:pathLst>
              <a:path w="901065" h="563879">
                <a:moveTo>
                  <a:pt x="900683" y="182321"/>
                </a:moveTo>
                <a:lnTo>
                  <a:pt x="619251" y="182321"/>
                </a:lnTo>
                <a:lnTo>
                  <a:pt x="606567" y="218378"/>
                </a:lnTo>
                <a:lnTo>
                  <a:pt x="583501" y="250867"/>
                </a:lnTo>
                <a:lnTo>
                  <a:pt x="549100" y="279392"/>
                </a:lnTo>
                <a:lnTo>
                  <a:pt x="502411" y="303555"/>
                </a:lnTo>
                <a:lnTo>
                  <a:pt x="511809" y="320860"/>
                </a:lnTo>
                <a:lnTo>
                  <a:pt x="526827" y="335567"/>
                </a:lnTo>
                <a:lnTo>
                  <a:pt x="545703" y="345780"/>
                </a:lnTo>
                <a:lnTo>
                  <a:pt x="566674" y="349605"/>
                </a:lnTo>
                <a:lnTo>
                  <a:pt x="719201" y="349605"/>
                </a:lnTo>
                <a:lnTo>
                  <a:pt x="735685" y="346360"/>
                </a:lnTo>
                <a:lnTo>
                  <a:pt x="749728" y="338093"/>
                </a:lnTo>
                <a:lnTo>
                  <a:pt x="760795" y="327006"/>
                </a:lnTo>
                <a:lnTo>
                  <a:pt x="768350" y="315302"/>
                </a:lnTo>
                <a:lnTo>
                  <a:pt x="613155" y="315302"/>
                </a:lnTo>
                <a:lnTo>
                  <a:pt x="603757" y="313893"/>
                </a:lnTo>
                <a:lnTo>
                  <a:pt x="603250" y="306374"/>
                </a:lnTo>
                <a:lnTo>
                  <a:pt x="612648" y="305435"/>
                </a:lnTo>
                <a:lnTo>
                  <a:pt x="765175" y="305435"/>
                </a:lnTo>
                <a:lnTo>
                  <a:pt x="779494" y="302586"/>
                </a:lnTo>
                <a:lnTo>
                  <a:pt x="792575" y="294979"/>
                </a:lnTo>
                <a:lnTo>
                  <a:pt x="803894" y="284025"/>
                </a:lnTo>
                <a:lnTo>
                  <a:pt x="812926" y="271132"/>
                </a:lnTo>
                <a:lnTo>
                  <a:pt x="635634" y="271132"/>
                </a:lnTo>
                <a:lnTo>
                  <a:pt x="626744" y="269722"/>
                </a:lnTo>
                <a:lnTo>
                  <a:pt x="626744" y="262204"/>
                </a:lnTo>
                <a:lnTo>
                  <a:pt x="635634" y="261264"/>
                </a:lnTo>
                <a:lnTo>
                  <a:pt x="814324" y="261264"/>
                </a:lnTo>
                <a:lnTo>
                  <a:pt x="827345" y="257820"/>
                </a:lnTo>
                <a:lnTo>
                  <a:pt x="839057" y="249223"/>
                </a:lnTo>
                <a:lnTo>
                  <a:pt x="848721" y="238070"/>
                </a:lnTo>
                <a:lnTo>
                  <a:pt x="855599" y="226961"/>
                </a:lnTo>
                <a:lnTo>
                  <a:pt x="659129" y="226961"/>
                </a:lnTo>
                <a:lnTo>
                  <a:pt x="649224" y="225552"/>
                </a:lnTo>
                <a:lnTo>
                  <a:pt x="649224" y="216623"/>
                </a:lnTo>
                <a:lnTo>
                  <a:pt x="659129" y="216154"/>
                </a:lnTo>
                <a:lnTo>
                  <a:pt x="858901" y="216154"/>
                </a:lnTo>
                <a:lnTo>
                  <a:pt x="870662" y="213312"/>
                </a:lnTo>
                <a:lnTo>
                  <a:pt x="881745" y="205757"/>
                </a:lnTo>
                <a:lnTo>
                  <a:pt x="891851" y="194942"/>
                </a:lnTo>
                <a:lnTo>
                  <a:pt x="900683" y="182321"/>
                </a:lnTo>
                <a:close/>
              </a:path>
              <a:path w="901065" h="563879">
                <a:moveTo>
                  <a:pt x="507110" y="220853"/>
                </a:moveTo>
                <a:lnTo>
                  <a:pt x="498175" y="235419"/>
                </a:lnTo>
                <a:lnTo>
                  <a:pt x="488203" y="248929"/>
                </a:lnTo>
                <a:lnTo>
                  <a:pt x="477017" y="261558"/>
                </a:lnTo>
                <a:lnTo>
                  <a:pt x="464438" y="273481"/>
                </a:lnTo>
                <a:lnTo>
                  <a:pt x="485411" y="269414"/>
                </a:lnTo>
                <a:lnTo>
                  <a:pt x="505348" y="262791"/>
                </a:lnTo>
                <a:lnTo>
                  <a:pt x="524071" y="253525"/>
                </a:lnTo>
                <a:lnTo>
                  <a:pt x="541401" y="241528"/>
                </a:lnTo>
                <a:lnTo>
                  <a:pt x="533578" y="235390"/>
                </a:lnTo>
                <a:lnTo>
                  <a:pt x="525113" y="229781"/>
                </a:lnTo>
                <a:lnTo>
                  <a:pt x="516219" y="224876"/>
                </a:lnTo>
                <a:lnTo>
                  <a:pt x="507110" y="220853"/>
                </a:lnTo>
                <a:close/>
              </a:path>
              <a:path w="901065" h="563879">
                <a:moveTo>
                  <a:pt x="455549" y="209575"/>
                </a:moveTo>
                <a:lnTo>
                  <a:pt x="455549" y="268312"/>
                </a:lnTo>
                <a:lnTo>
                  <a:pt x="467808" y="257262"/>
                </a:lnTo>
                <a:lnTo>
                  <a:pt x="479044" y="244759"/>
                </a:lnTo>
                <a:lnTo>
                  <a:pt x="488946" y="231110"/>
                </a:lnTo>
                <a:lnTo>
                  <a:pt x="497204" y="216623"/>
                </a:lnTo>
                <a:lnTo>
                  <a:pt x="487142" y="213738"/>
                </a:lnTo>
                <a:lnTo>
                  <a:pt x="476710" y="211513"/>
                </a:lnTo>
                <a:lnTo>
                  <a:pt x="466111" y="210082"/>
                </a:lnTo>
                <a:lnTo>
                  <a:pt x="455549" y="209575"/>
                </a:lnTo>
                <a:close/>
              </a:path>
              <a:path w="901065" h="563879">
                <a:moveTo>
                  <a:pt x="591057" y="141439"/>
                </a:moveTo>
                <a:lnTo>
                  <a:pt x="528701" y="141439"/>
                </a:lnTo>
                <a:lnTo>
                  <a:pt x="527159" y="159986"/>
                </a:lnTo>
                <a:lnTo>
                  <a:pt x="523986" y="177739"/>
                </a:lnTo>
                <a:lnTo>
                  <a:pt x="519074" y="194964"/>
                </a:lnTo>
                <a:lnTo>
                  <a:pt x="512317" y="211924"/>
                </a:lnTo>
                <a:lnTo>
                  <a:pt x="521968" y="216778"/>
                </a:lnTo>
                <a:lnTo>
                  <a:pt x="531320" y="222203"/>
                </a:lnTo>
                <a:lnTo>
                  <a:pt x="540410" y="228246"/>
                </a:lnTo>
                <a:lnTo>
                  <a:pt x="549275" y="234950"/>
                </a:lnTo>
                <a:lnTo>
                  <a:pt x="566322" y="214722"/>
                </a:lnTo>
                <a:lnTo>
                  <a:pt x="579167" y="191895"/>
                </a:lnTo>
                <a:lnTo>
                  <a:pt x="587511" y="167218"/>
                </a:lnTo>
                <a:lnTo>
                  <a:pt x="591057" y="141439"/>
                </a:lnTo>
                <a:close/>
              </a:path>
              <a:path w="901065" h="563879">
                <a:moveTo>
                  <a:pt x="517905" y="141439"/>
                </a:moveTo>
                <a:lnTo>
                  <a:pt x="455549" y="141439"/>
                </a:lnTo>
                <a:lnTo>
                  <a:pt x="455549" y="199237"/>
                </a:lnTo>
                <a:lnTo>
                  <a:pt x="467354" y="199905"/>
                </a:lnTo>
                <a:lnTo>
                  <a:pt x="479313" y="201763"/>
                </a:lnTo>
                <a:lnTo>
                  <a:pt x="491107" y="204590"/>
                </a:lnTo>
                <a:lnTo>
                  <a:pt x="502411" y="208165"/>
                </a:lnTo>
                <a:lnTo>
                  <a:pt x="509012" y="192056"/>
                </a:lnTo>
                <a:lnTo>
                  <a:pt x="513873" y="175507"/>
                </a:lnTo>
                <a:lnTo>
                  <a:pt x="516878" y="158605"/>
                </a:lnTo>
                <a:lnTo>
                  <a:pt x="517905" y="141439"/>
                </a:lnTo>
                <a:close/>
              </a:path>
              <a:path w="901065" h="563879">
                <a:moveTo>
                  <a:pt x="281431" y="182321"/>
                </a:moveTo>
                <a:lnTo>
                  <a:pt x="0" y="182321"/>
                </a:lnTo>
                <a:lnTo>
                  <a:pt x="8832" y="194942"/>
                </a:lnTo>
                <a:lnTo>
                  <a:pt x="18938" y="205757"/>
                </a:lnTo>
                <a:lnTo>
                  <a:pt x="30021" y="213312"/>
                </a:lnTo>
                <a:lnTo>
                  <a:pt x="41782" y="216154"/>
                </a:lnTo>
                <a:lnTo>
                  <a:pt x="241553" y="216154"/>
                </a:lnTo>
                <a:lnTo>
                  <a:pt x="251459" y="216623"/>
                </a:lnTo>
                <a:lnTo>
                  <a:pt x="251459" y="225552"/>
                </a:lnTo>
                <a:lnTo>
                  <a:pt x="241553" y="226961"/>
                </a:lnTo>
                <a:lnTo>
                  <a:pt x="45084" y="226961"/>
                </a:lnTo>
                <a:lnTo>
                  <a:pt x="51962" y="238070"/>
                </a:lnTo>
                <a:lnTo>
                  <a:pt x="61626" y="249223"/>
                </a:lnTo>
                <a:lnTo>
                  <a:pt x="73338" y="257820"/>
                </a:lnTo>
                <a:lnTo>
                  <a:pt x="86359" y="261264"/>
                </a:lnTo>
                <a:lnTo>
                  <a:pt x="265049" y="261264"/>
                </a:lnTo>
                <a:lnTo>
                  <a:pt x="273938" y="262204"/>
                </a:lnTo>
                <a:lnTo>
                  <a:pt x="273938" y="269722"/>
                </a:lnTo>
                <a:lnTo>
                  <a:pt x="265049" y="271132"/>
                </a:lnTo>
                <a:lnTo>
                  <a:pt x="87756" y="271132"/>
                </a:lnTo>
                <a:lnTo>
                  <a:pt x="96789" y="284025"/>
                </a:lnTo>
                <a:lnTo>
                  <a:pt x="108108" y="294979"/>
                </a:lnTo>
                <a:lnTo>
                  <a:pt x="121189" y="302586"/>
                </a:lnTo>
                <a:lnTo>
                  <a:pt x="135508" y="305435"/>
                </a:lnTo>
                <a:lnTo>
                  <a:pt x="288035" y="305435"/>
                </a:lnTo>
                <a:lnTo>
                  <a:pt x="297433" y="306374"/>
                </a:lnTo>
                <a:lnTo>
                  <a:pt x="296925" y="313893"/>
                </a:lnTo>
                <a:lnTo>
                  <a:pt x="287527" y="315302"/>
                </a:lnTo>
                <a:lnTo>
                  <a:pt x="132333" y="315302"/>
                </a:lnTo>
                <a:lnTo>
                  <a:pt x="139888" y="327006"/>
                </a:lnTo>
                <a:lnTo>
                  <a:pt x="150955" y="338093"/>
                </a:lnTo>
                <a:lnTo>
                  <a:pt x="164998" y="346360"/>
                </a:lnTo>
                <a:lnTo>
                  <a:pt x="181482" y="349605"/>
                </a:lnTo>
                <a:lnTo>
                  <a:pt x="334009" y="349605"/>
                </a:lnTo>
                <a:lnTo>
                  <a:pt x="354980" y="345780"/>
                </a:lnTo>
                <a:lnTo>
                  <a:pt x="373856" y="335567"/>
                </a:lnTo>
                <a:lnTo>
                  <a:pt x="388874" y="320860"/>
                </a:lnTo>
                <a:lnTo>
                  <a:pt x="398272" y="303555"/>
                </a:lnTo>
                <a:lnTo>
                  <a:pt x="351583" y="279392"/>
                </a:lnTo>
                <a:lnTo>
                  <a:pt x="317182" y="250867"/>
                </a:lnTo>
                <a:lnTo>
                  <a:pt x="294116" y="218378"/>
                </a:lnTo>
                <a:lnTo>
                  <a:pt x="281431" y="182321"/>
                </a:lnTo>
                <a:close/>
              </a:path>
              <a:path w="901065" h="563879">
                <a:moveTo>
                  <a:pt x="393573" y="220853"/>
                </a:moveTo>
                <a:lnTo>
                  <a:pt x="384530" y="224744"/>
                </a:lnTo>
                <a:lnTo>
                  <a:pt x="375713" y="229781"/>
                </a:lnTo>
                <a:lnTo>
                  <a:pt x="367158" y="235522"/>
                </a:lnTo>
                <a:lnTo>
                  <a:pt x="358901" y="241528"/>
                </a:lnTo>
                <a:lnTo>
                  <a:pt x="376237" y="253525"/>
                </a:lnTo>
                <a:lnTo>
                  <a:pt x="395096" y="262791"/>
                </a:lnTo>
                <a:lnTo>
                  <a:pt x="415194" y="269414"/>
                </a:lnTo>
                <a:lnTo>
                  <a:pt x="436244" y="273481"/>
                </a:lnTo>
                <a:lnTo>
                  <a:pt x="423666" y="261558"/>
                </a:lnTo>
                <a:lnTo>
                  <a:pt x="412480" y="248929"/>
                </a:lnTo>
                <a:lnTo>
                  <a:pt x="402508" y="235419"/>
                </a:lnTo>
                <a:lnTo>
                  <a:pt x="393573" y="220853"/>
                </a:lnTo>
                <a:close/>
              </a:path>
              <a:path w="901065" h="563879">
                <a:moveTo>
                  <a:pt x="445642" y="209575"/>
                </a:moveTo>
                <a:lnTo>
                  <a:pt x="434786" y="210015"/>
                </a:lnTo>
                <a:lnTo>
                  <a:pt x="424037" y="211337"/>
                </a:lnTo>
                <a:lnTo>
                  <a:pt x="413549" y="213540"/>
                </a:lnTo>
                <a:lnTo>
                  <a:pt x="403478" y="216623"/>
                </a:lnTo>
                <a:lnTo>
                  <a:pt x="411745" y="231095"/>
                </a:lnTo>
                <a:lnTo>
                  <a:pt x="421703" y="244641"/>
                </a:lnTo>
                <a:lnTo>
                  <a:pt x="433089" y="256866"/>
                </a:lnTo>
                <a:lnTo>
                  <a:pt x="445642" y="267373"/>
                </a:lnTo>
                <a:lnTo>
                  <a:pt x="445642" y="209575"/>
                </a:lnTo>
                <a:close/>
              </a:path>
              <a:path w="901065" h="563879">
                <a:moveTo>
                  <a:pt x="371982" y="141439"/>
                </a:moveTo>
                <a:lnTo>
                  <a:pt x="309625" y="141439"/>
                </a:lnTo>
                <a:lnTo>
                  <a:pt x="313386" y="167614"/>
                </a:lnTo>
                <a:lnTo>
                  <a:pt x="321711" y="192255"/>
                </a:lnTo>
                <a:lnTo>
                  <a:pt x="334432" y="214854"/>
                </a:lnTo>
                <a:lnTo>
                  <a:pt x="351408" y="234950"/>
                </a:lnTo>
                <a:lnTo>
                  <a:pt x="360281" y="228246"/>
                </a:lnTo>
                <a:lnTo>
                  <a:pt x="369427" y="222203"/>
                </a:lnTo>
                <a:lnTo>
                  <a:pt x="378930" y="216778"/>
                </a:lnTo>
                <a:lnTo>
                  <a:pt x="388874" y="211924"/>
                </a:lnTo>
                <a:lnTo>
                  <a:pt x="382305" y="194766"/>
                </a:lnTo>
                <a:lnTo>
                  <a:pt x="377285" y="177563"/>
                </a:lnTo>
                <a:lnTo>
                  <a:pt x="373836" y="159920"/>
                </a:lnTo>
                <a:lnTo>
                  <a:pt x="371982" y="141439"/>
                </a:lnTo>
                <a:close/>
              </a:path>
              <a:path w="901065" h="563879">
                <a:moveTo>
                  <a:pt x="445642" y="141439"/>
                </a:moveTo>
                <a:lnTo>
                  <a:pt x="382777" y="141439"/>
                </a:lnTo>
                <a:lnTo>
                  <a:pt x="384020" y="158672"/>
                </a:lnTo>
                <a:lnTo>
                  <a:pt x="387000" y="175683"/>
                </a:lnTo>
                <a:lnTo>
                  <a:pt x="391743" y="192255"/>
                </a:lnTo>
                <a:lnTo>
                  <a:pt x="398272" y="208165"/>
                </a:lnTo>
                <a:lnTo>
                  <a:pt x="409692" y="204590"/>
                </a:lnTo>
                <a:lnTo>
                  <a:pt x="421433" y="201763"/>
                </a:lnTo>
                <a:lnTo>
                  <a:pt x="433437" y="199905"/>
                </a:lnTo>
                <a:lnTo>
                  <a:pt x="445642" y="199237"/>
                </a:lnTo>
                <a:lnTo>
                  <a:pt x="445642" y="141439"/>
                </a:lnTo>
                <a:close/>
              </a:path>
              <a:path w="901065" h="563879">
                <a:moveTo>
                  <a:pt x="502411" y="65316"/>
                </a:moveTo>
                <a:lnTo>
                  <a:pt x="490999" y="68825"/>
                </a:lnTo>
                <a:lnTo>
                  <a:pt x="479313" y="71542"/>
                </a:lnTo>
                <a:lnTo>
                  <a:pt x="467461" y="73377"/>
                </a:lnTo>
                <a:lnTo>
                  <a:pt x="455549" y="74244"/>
                </a:lnTo>
                <a:lnTo>
                  <a:pt x="455549" y="131572"/>
                </a:lnTo>
                <a:lnTo>
                  <a:pt x="517905" y="131572"/>
                </a:lnTo>
                <a:lnTo>
                  <a:pt x="516878" y="114479"/>
                </a:lnTo>
                <a:lnTo>
                  <a:pt x="513873" y="97739"/>
                </a:lnTo>
                <a:lnTo>
                  <a:pt x="509012" y="81351"/>
                </a:lnTo>
                <a:lnTo>
                  <a:pt x="502411" y="65316"/>
                </a:lnTo>
                <a:close/>
              </a:path>
              <a:path w="901065" h="563879">
                <a:moveTo>
                  <a:pt x="549275" y="38531"/>
                </a:moveTo>
                <a:lnTo>
                  <a:pt x="540625" y="45235"/>
                </a:lnTo>
                <a:lnTo>
                  <a:pt x="531510" y="51277"/>
                </a:lnTo>
                <a:lnTo>
                  <a:pt x="522039" y="56703"/>
                </a:lnTo>
                <a:lnTo>
                  <a:pt x="512317" y="61556"/>
                </a:lnTo>
                <a:lnTo>
                  <a:pt x="518860" y="78311"/>
                </a:lnTo>
                <a:lnTo>
                  <a:pt x="523795" y="95507"/>
                </a:lnTo>
                <a:lnTo>
                  <a:pt x="527087" y="113231"/>
                </a:lnTo>
                <a:lnTo>
                  <a:pt x="528701" y="131572"/>
                </a:lnTo>
                <a:lnTo>
                  <a:pt x="591057" y="131572"/>
                </a:lnTo>
                <a:lnTo>
                  <a:pt x="587708" y="106263"/>
                </a:lnTo>
                <a:lnTo>
                  <a:pt x="579691" y="82056"/>
                </a:lnTo>
                <a:lnTo>
                  <a:pt x="566912" y="59346"/>
                </a:lnTo>
                <a:lnTo>
                  <a:pt x="549275" y="38531"/>
                </a:lnTo>
                <a:close/>
              </a:path>
              <a:path w="901065" h="563879">
                <a:moveTo>
                  <a:pt x="455549" y="5638"/>
                </a:moveTo>
                <a:lnTo>
                  <a:pt x="455549" y="64376"/>
                </a:lnTo>
                <a:lnTo>
                  <a:pt x="466111" y="63788"/>
                </a:lnTo>
                <a:lnTo>
                  <a:pt x="476710" y="62144"/>
                </a:lnTo>
                <a:lnTo>
                  <a:pt x="487142" y="59618"/>
                </a:lnTo>
                <a:lnTo>
                  <a:pt x="497204" y="56388"/>
                </a:lnTo>
                <a:lnTo>
                  <a:pt x="488946" y="42246"/>
                </a:lnTo>
                <a:lnTo>
                  <a:pt x="479044" y="28898"/>
                </a:lnTo>
                <a:lnTo>
                  <a:pt x="467808" y="16608"/>
                </a:lnTo>
                <a:lnTo>
                  <a:pt x="455549" y="5638"/>
                </a:lnTo>
                <a:close/>
              </a:path>
              <a:path w="901065" h="563879">
                <a:moveTo>
                  <a:pt x="464438" y="0"/>
                </a:moveTo>
                <a:lnTo>
                  <a:pt x="477017" y="11864"/>
                </a:lnTo>
                <a:lnTo>
                  <a:pt x="488203" y="24434"/>
                </a:lnTo>
                <a:lnTo>
                  <a:pt x="498175" y="38061"/>
                </a:lnTo>
                <a:lnTo>
                  <a:pt x="507110" y="53098"/>
                </a:lnTo>
                <a:lnTo>
                  <a:pt x="516219" y="48994"/>
                </a:lnTo>
                <a:lnTo>
                  <a:pt x="525113" y="43876"/>
                </a:lnTo>
                <a:lnTo>
                  <a:pt x="533578" y="37966"/>
                </a:lnTo>
                <a:lnTo>
                  <a:pt x="541401" y="31483"/>
                </a:lnTo>
                <a:lnTo>
                  <a:pt x="524071" y="19691"/>
                </a:lnTo>
                <a:lnTo>
                  <a:pt x="505348" y="10455"/>
                </a:lnTo>
                <a:lnTo>
                  <a:pt x="485411" y="3861"/>
                </a:lnTo>
                <a:lnTo>
                  <a:pt x="464438" y="0"/>
                </a:lnTo>
                <a:close/>
              </a:path>
              <a:path w="901065" h="563879">
                <a:moveTo>
                  <a:pt x="351408" y="38531"/>
                </a:moveTo>
                <a:lnTo>
                  <a:pt x="334218" y="58818"/>
                </a:lnTo>
                <a:lnTo>
                  <a:pt x="321516" y="81351"/>
                </a:lnTo>
                <a:lnTo>
                  <a:pt x="313314" y="105734"/>
                </a:lnTo>
                <a:lnTo>
                  <a:pt x="309625" y="131572"/>
                </a:lnTo>
                <a:lnTo>
                  <a:pt x="371982" y="131572"/>
                </a:lnTo>
                <a:lnTo>
                  <a:pt x="373836" y="113297"/>
                </a:lnTo>
                <a:lnTo>
                  <a:pt x="377285" y="95683"/>
                </a:lnTo>
                <a:lnTo>
                  <a:pt x="382305" y="78510"/>
                </a:lnTo>
                <a:lnTo>
                  <a:pt x="388874" y="61556"/>
                </a:lnTo>
                <a:lnTo>
                  <a:pt x="378930" y="56769"/>
                </a:lnTo>
                <a:lnTo>
                  <a:pt x="369427" y="51454"/>
                </a:lnTo>
                <a:lnTo>
                  <a:pt x="360281" y="45433"/>
                </a:lnTo>
                <a:lnTo>
                  <a:pt x="351408" y="38531"/>
                </a:lnTo>
                <a:close/>
              </a:path>
              <a:path w="901065" h="563879">
                <a:moveTo>
                  <a:pt x="398272" y="65316"/>
                </a:moveTo>
                <a:lnTo>
                  <a:pt x="391743" y="81219"/>
                </a:lnTo>
                <a:lnTo>
                  <a:pt x="387000" y="97739"/>
                </a:lnTo>
                <a:lnTo>
                  <a:pt x="384020" y="114611"/>
                </a:lnTo>
                <a:lnTo>
                  <a:pt x="382777" y="131572"/>
                </a:lnTo>
                <a:lnTo>
                  <a:pt x="445642" y="131572"/>
                </a:lnTo>
                <a:lnTo>
                  <a:pt x="445642" y="74244"/>
                </a:lnTo>
                <a:lnTo>
                  <a:pt x="433437" y="73377"/>
                </a:lnTo>
                <a:lnTo>
                  <a:pt x="421433" y="71542"/>
                </a:lnTo>
                <a:lnTo>
                  <a:pt x="409692" y="68825"/>
                </a:lnTo>
                <a:lnTo>
                  <a:pt x="398272" y="65316"/>
                </a:lnTo>
                <a:close/>
              </a:path>
              <a:path w="901065" h="563879">
                <a:moveTo>
                  <a:pt x="445642" y="5638"/>
                </a:moveTo>
                <a:lnTo>
                  <a:pt x="433089" y="16674"/>
                </a:lnTo>
                <a:lnTo>
                  <a:pt x="421703" y="29075"/>
                </a:lnTo>
                <a:lnTo>
                  <a:pt x="411745" y="42445"/>
                </a:lnTo>
                <a:lnTo>
                  <a:pt x="403478" y="56388"/>
                </a:lnTo>
                <a:lnTo>
                  <a:pt x="413549" y="59420"/>
                </a:lnTo>
                <a:lnTo>
                  <a:pt x="424037" y="61968"/>
                </a:lnTo>
                <a:lnTo>
                  <a:pt x="434786" y="63722"/>
                </a:lnTo>
                <a:lnTo>
                  <a:pt x="445642" y="64376"/>
                </a:lnTo>
                <a:lnTo>
                  <a:pt x="445642" y="5638"/>
                </a:lnTo>
                <a:close/>
              </a:path>
              <a:path w="901065" h="563879">
                <a:moveTo>
                  <a:pt x="436244" y="0"/>
                </a:moveTo>
                <a:lnTo>
                  <a:pt x="415266" y="3861"/>
                </a:lnTo>
                <a:lnTo>
                  <a:pt x="395287" y="10455"/>
                </a:lnTo>
                <a:lnTo>
                  <a:pt x="376451" y="19691"/>
                </a:lnTo>
                <a:lnTo>
                  <a:pt x="358901" y="31483"/>
                </a:lnTo>
                <a:lnTo>
                  <a:pt x="367087" y="37966"/>
                </a:lnTo>
                <a:lnTo>
                  <a:pt x="375523" y="43876"/>
                </a:lnTo>
                <a:lnTo>
                  <a:pt x="384315" y="48994"/>
                </a:lnTo>
                <a:lnTo>
                  <a:pt x="393573" y="53098"/>
                </a:lnTo>
                <a:lnTo>
                  <a:pt x="402365" y="38194"/>
                </a:lnTo>
                <a:lnTo>
                  <a:pt x="412480" y="24434"/>
                </a:lnTo>
                <a:lnTo>
                  <a:pt x="423808" y="11732"/>
                </a:lnTo>
                <a:lnTo>
                  <a:pt x="436244" y="0"/>
                </a:lnTo>
                <a:close/>
              </a:path>
              <a:path w="901065" h="563879">
                <a:moveTo>
                  <a:pt x="545591" y="429488"/>
                </a:moveTo>
                <a:lnTo>
                  <a:pt x="486917" y="429488"/>
                </a:lnTo>
                <a:lnTo>
                  <a:pt x="466343" y="563880"/>
                </a:lnTo>
                <a:lnTo>
                  <a:pt x="525399" y="563880"/>
                </a:lnTo>
                <a:lnTo>
                  <a:pt x="545591" y="429488"/>
                </a:lnTo>
                <a:close/>
              </a:path>
              <a:path w="901065" h="563879">
                <a:moveTo>
                  <a:pt x="733170" y="384848"/>
                </a:moveTo>
                <a:lnTo>
                  <a:pt x="674115" y="384848"/>
                </a:lnTo>
                <a:lnTo>
                  <a:pt x="584073" y="563880"/>
                </a:lnTo>
                <a:lnTo>
                  <a:pt x="643127" y="563880"/>
                </a:lnTo>
                <a:lnTo>
                  <a:pt x="653033" y="542734"/>
                </a:lnTo>
                <a:lnTo>
                  <a:pt x="766322" y="542734"/>
                </a:lnTo>
                <a:lnTo>
                  <a:pt x="758429" y="505142"/>
                </a:lnTo>
                <a:lnTo>
                  <a:pt x="667511" y="505142"/>
                </a:lnTo>
                <a:lnTo>
                  <a:pt x="695705" y="439826"/>
                </a:lnTo>
                <a:lnTo>
                  <a:pt x="744714" y="439826"/>
                </a:lnTo>
                <a:lnTo>
                  <a:pt x="733170" y="384848"/>
                </a:lnTo>
                <a:close/>
              </a:path>
              <a:path w="901065" h="563879">
                <a:moveTo>
                  <a:pt x="766322" y="542734"/>
                </a:moveTo>
                <a:lnTo>
                  <a:pt x="712088" y="542734"/>
                </a:lnTo>
                <a:lnTo>
                  <a:pt x="714501" y="563880"/>
                </a:lnTo>
                <a:lnTo>
                  <a:pt x="770762" y="563880"/>
                </a:lnTo>
                <a:lnTo>
                  <a:pt x="766322" y="542734"/>
                </a:lnTo>
                <a:close/>
              </a:path>
              <a:path w="901065" h="563879">
                <a:moveTo>
                  <a:pt x="744714" y="439826"/>
                </a:moveTo>
                <a:lnTo>
                  <a:pt x="695705" y="439826"/>
                </a:lnTo>
                <a:lnTo>
                  <a:pt x="705484" y="505142"/>
                </a:lnTo>
                <a:lnTo>
                  <a:pt x="758429" y="505142"/>
                </a:lnTo>
                <a:lnTo>
                  <a:pt x="744714" y="439826"/>
                </a:lnTo>
                <a:close/>
              </a:path>
              <a:path w="901065" h="563879">
                <a:moveTo>
                  <a:pt x="604647" y="383908"/>
                </a:moveTo>
                <a:lnTo>
                  <a:pt x="443737" y="383908"/>
                </a:lnTo>
                <a:lnTo>
                  <a:pt x="434848" y="429488"/>
                </a:lnTo>
                <a:lnTo>
                  <a:pt x="595249" y="429488"/>
                </a:lnTo>
                <a:lnTo>
                  <a:pt x="604647" y="383908"/>
                </a:lnTo>
                <a:close/>
              </a:path>
              <a:path w="901065" h="563879">
                <a:moveTo>
                  <a:pt x="224662" y="384848"/>
                </a:moveTo>
                <a:lnTo>
                  <a:pt x="164718" y="384848"/>
                </a:lnTo>
                <a:lnTo>
                  <a:pt x="128015" y="563880"/>
                </a:lnTo>
                <a:lnTo>
                  <a:pt x="188086" y="563880"/>
                </a:lnTo>
                <a:lnTo>
                  <a:pt x="224662" y="384848"/>
                </a:lnTo>
                <a:close/>
              </a:path>
              <a:path w="901065" h="563879">
                <a:moveTo>
                  <a:pt x="374395" y="384848"/>
                </a:moveTo>
                <a:lnTo>
                  <a:pt x="315213" y="384848"/>
                </a:lnTo>
                <a:lnTo>
                  <a:pt x="224662" y="563880"/>
                </a:lnTo>
                <a:lnTo>
                  <a:pt x="284225" y="563880"/>
                </a:lnTo>
                <a:lnTo>
                  <a:pt x="293624" y="542734"/>
                </a:lnTo>
                <a:lnTo>
                  <a:pt x="406988" y="542734"/>
                </a:lnTo>
                <a:lnTo>
                  <a:pt x="399227" y="505142"/>
                </a:lnTo>
                <a:lnTo>
                  <a:pt x="308228" y="505142"/>
                </a:lnTo>
                <a:lnTo>
                  <a:pt x="336295" y="439826"/>
                </a:lnTo>
                <a:lnTo>
                  <a:pt x="385744" y="439826"/>
                </a:lnTo>
                <a:lnTo>
                  <a:pt x="374395" y="384848"/>
                </a:lnTo>
                <a:close/>
              </a:path>
              <a:path w="901065" h="563879">
                <a:moveTo>
                  <a:pt x="406988" y="542734"/>
                </a:moveTo>
                <a:lnTo>
                  <a:pt x="352805" y="542734"/>
                </a:lnTo>
                <a:lnTo>
                  <a:pt x="356107" y="563880"/>
                </a:lnTo>
                <a:lnTo>
                  <a:pt x="411352" y="563880"/>
                </a:lnTo>
                <a:lnTo>
                  <a:pt x="406988" y="542734"/>
                </a:lnTo>
                <a:close/>
              </a:path>
              <a:path w="901065" h="563879">
                <a:moveTo>
                  <a:pt x="385744" y="439826"/>
                </a:moveTo>
                <a:lnTo>
                  <a:pt x="336295" y="439826"/>
                </a:lnTo>
                <a:lnTo>
                  <a:pt x="346709" y="505142"/>
                </a:lnTo>
                <a:lnTo>
                  <a:pt x="399227" y="505142"/>
                </a:lnTo>
                <a:lnTo>
                  <a:pt x="385744" y="439826"/>
                </a:lnTo>
                <a:close/>
              </a:path>
            </a:pathLst>
          </a:custGeom>
          <a:solidFill>
            <a:srgbClr val="1E31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471673" y="2582366"/>
            <a:ext cx="7248652" cy="757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800" b="0" i="0">
                <a:solidFill>
                  <a:schemeClr val="bg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0-Nov-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17435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71DE7C4-EADF-49A5-94C9-295DA7102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5"/>
            <a:ext cx="11429324" cy="6093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15A1F1-8128-4C7E-90C2-0A9DA95A35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0999" y="1485900"/>
            <a:ext cx="11429325" cy="426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259C21-CE9A-4D3A-AB80-ABF8F4D8A7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1000" y="6162324"/>
            <a:ext cx="4572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00">
                <a:solidFill>
                  <a:schemeClr val="accent1"/>
                </a:solidFill>
              </a:defRPr>
            </a:lvl1pPr>
          </a:lstStyle>
          <a:p>
            <a:fld id="{1A9E565A-6679-4A67-8FB7-14EA342FD6E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0C31F4B-5C05-466F-885D-40F63FD5D3ED}"/>
              </a:ext>
            </a:extLst>
          </p:cNvPr>
          <p:cNvSpPr txBox="1">
            <a:spLocks/>
          </p:cNvSpPr>
          <p:nvPr userDrawn="1"/>
        </p:nvSpPr>
        <p:spPr>
          <a:xfrm>
            <a:off x="955370" y="6162324"/>
            <a:ext cx="809719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>
              <a:defRPr sz="1100">
                <a:solidFill>
                  <a:schemeClr val="accen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021 IATA Global Passenger Survey Highlights. © Copyright International Air Transport Association.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09037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  <p:sldLayoutId id="2147483970" r:id="rId13"/>
    <p:sldLayoutId id="2147483971" r:id="rId14"/>
    <p:sldLayoutId id="2147483972" r:id="rId15"/>
    <p:sldLayoutId id="2147483973" r:id="rId16"/>
    <p:sldLayoutId id="2147483974" r:id="rId17"/>
    <p:sldLayoutId id="2147483975" r:id="rId18"/>
    <p:sldLayoutId id="2147483976" r:id="rId19"/>
    <p:sldLayoutId id="2147483977" r:id="rId20"/>
    <p:sldLayoutId id="2147483978" r:id="rId21"/>
    <p:sldLayoutId id="2147483979" r:id="rId22"/>
    <p:sldLayoutId id="2147483980" r:id="rId23"/>
    <p:sldLayoutId id="2147483981" r:id="rId24"/>
    <p:sldLayoutId id="2147483982" r:id="rId25"/>
    <p:sldLayoutId id="2147483983" r:id="rId26"/>
    <p:sldLayoutId id="2147483984" r:id="rId27"/>
    <p:sldLayoutId id="2147483985" r:id="rId28"/>
    <p:sldLayoutId id="2147483986" r:id="rId29"/>
    <p:sldLayoutId id="2147483987" r:id="rId30"/>
    <p:sldLayoutId id="2147483988" r:id="rId31"/>
    <p:sldLayoutId id="2147483989" r:id="rId32"/>
    <p:sldLayoutId id="2147483990" r:id="rId33"/>
    <p:sldLayoutId id="2147483991" r:id="rId34"/>
    <p:sldLayoutId id="2147483992" r:id="rId35"/>
    <p:sldLayoutId id="2147483993" r:id="rId36"/>
    <p:sldLayoutId id="2147483994" r:id="rId37"/>
    <p:sldLayoutId id="2147483995" r:id="rId38"/>
    <p:sldLayoutId id="2147483996" r:id="rId39"/>
    <p:sldLayoutId id="2147483997" r:id="rId40"/>
    <p:sldLayoutId id="2147483998" r:id="rId41"/>
    <p:sldLayoutId id="2147483999" r:id="rId42"/>
    <p:sldLayoutId id="2147484000" r:id="rId43"/>
    <p:sldLayoutId id="2147484001" r:id="rId44"/>
    <p:sldLayoutId id="2147484002" r:id="rId45"/>
    <p:sldLayoutId id="2147484003" r:id="rId46"/>
    <p:sldLayoutId id="2147484004" r:id="rId47"/>
    <p:sldLayoutId id="2147484005" r:id="rId48"/>
    <p:sldLayoutId id="2147484006" r:id="rId49"/>
    <p:sldLayoutId id="2147484007" r:id="rId50"/>
    <p:sldLayoutId id="2147484008" r:id="rId51"/>
    <p:sldLayoutId id="2147484009" r:id="rId52"/>
    <p:sldLayoutId id="2147484010" r:id="rId53"/>
    <p:sldLayoutId id="2147484011" r:id="rId54"/>
    <p:sldLayoutId id="2147484012" r:id="rId55"/>
    <p:sldLayoutId id="2147484013" r:id="rId56"/>
    <p:sldLayoutId id="2147484014" r:id="rId57"/>
    <p:sldLayoutId id="2147484015" r:id="rId58"/>
    <p:sldLayoutId id="2147484016" r:id="rId59"/>
    <p:sldLayoutId id="2147484017" r:id="rId60"/>
    <p:sldLayoutId id="2147484018" r:id="rId61"/>
    <p:sldLayoutId id="2147484019" r:id="rId62"/>
    <p:sldLayoutId id="2147484020" r:id="rId63"/>
    <p:sldLayoutId id="2147484021" r:id="rId64"/>
    <p:sldLayoutId id="2147484022" r:id="rId65"/>
    <p:sldLayoutId id="2147484023" r:id="rId66"/>
    <p:sldLayoutId id="2147484024" r:id="rId67"/>
    <p:sldLayoutId id="2147484025" r:id="rId68"/>
    <p:sldLayoutId id="2147484026" r:id="rId69"/>
    <p:sldLayoutId id="2147484027" r:id="rId70"/>
    <p:sldLayoutId id="2147484028" r:id="rId71"/>
    <p:sldLayoutId id="2147484029" r:id="rId72"/>
    <p:sldLayoutId id="2147484030" r:id="rId73"/>
    <p:sldLayoutId id="2147484031" r:id="rId74"/>
    <p:sldLayoutId id="2147484032" r:id="rId75"/>
    <p:sldLayoutId id="2147484033" r:id="rId76"/>
    <p:sldLayoutId id="2147484034" r:id="rId77"/>
    <p:sldLayoutId id="2147484035" r:id="rId78"/>
    <p:sldLayoutId id="2147484036" r:id="rId79"/>
    <p:sldLayoutId id="2147484037" r:id="rId80"/>
    <p:sldLayoutId id="2147484038" r:id="rId81"/>
    <p:sldLayoutId id="2147484039" r:id="rId82"/>
    <p:sldLayoutId id="2147484040" r:id="rId83"/>
    <p:sldLayoutId id="2147484041" r:id="rId84"/>
    <p:sldLayoutId id="2147484042" r:id="rId85"/>
    <p:sldLayoutId id="2147484043" r:id="rId86"/>
    <p:sldLayoutId id="2147484044" r:id="rId87"/>
    <p:sldLayoutId id="2147484045" r:id="rId88"/>
    <p:sldLayoutId id="2147484046" r:id="rId89"/>
    <p:sldLayoutId id="2147484047" r:id="rId90"/>
    <p:sldLayoutId id="2147484048" r:id="rId91"/>
    <p:sldLayoutId id="2147484049" r:id="rId92"/>
    <p:sldLayoutId id="2147484050" r:id="rId93"/>
    <p:sldLayoutId id="2147484051" r:id="rId94"/>
    <p:sldLayoutId id="2147484052" r:id="rId95"/>
    <p:sldLayoutId id="2147484053" r:id="rId96"/>
    <p:sldLayoutId id="2147484054" r:id="rId97"/>
    <p:sldLayoutId id="2147484055" r:id="rId98"/>
    <p:sldLayoutId id="2147484056" r:id="rId99"/>
    <p:sldLayoutId id="2147484057" r:id="rId100"/>
    <p:sldLayoutId id="2147484058" r:id="rId101"/>
    <p:sldLayoutId id="2147484059" r:id="rId102"/>
    <p:sldLayoutId id="2147484060" r:id="rId103"/>
    <p:sldLayoutId id="2147484061" r:id="rId104"/>
    <p:sldLayoutId id="2147484062" r:id="rId105"/>
    <p:sldLayoutId id="2147484063" r:id="rId106"/>
    <p:sldLayoutId id="2147484064" r:id="rId107"/>
    <p:sldLayoutId id="2147484065" r:id="rId108"/>
    <p:sldLayoutId id="2147484066" r:id="rId109"/>
    <p:sldLayoutId id="2147484067" r:id="rId110"/>
    <p:sldLayoutId id="2147484068" r:id="rId111"/>
    <p:sldLayoutId id="2147484069" r:id="rId112"/>
    <p:sldLayoutId id="2147484070" r:id="rId113"/>
    <p:sldLayoutId id="2147484071" r:id="rId114"/>
    <p:sldLayoutId id="2147484072" r:id="rId115"/>
    <p:sldLayoutId id="2147484073" r:id="rId116"/>
    <p:sldLayoutId id="2147484074" r:id="rId117"/>
    <p:sldLayoutId id="2147484075" r:id="rId118"/>
    <p:sldLayoutId id="2147484076" r:id="rId119"/>
    <p:sldLayoutId id="2147484077" r:id="rId120"/>
    <p:sldLayoutId id="2147484078" r:id="rId121"/>
    <p:sldLayoutId id="2147484079" r:id="rId122"/>
    <p:sldLayoutId id="2147484080" r:id="rId123"/>
    <p:sldLayoutId id="2147484081" r:id="rId124"/>
    <p:sldLayoutId id="2147484082" r:id="rId125"/>
    <p:sldLayoutId id="2147484083" r:id="rId126"/>
    <p:sldLayoutId id="2147484084" r:id="rId127"/>
    <p:sldLayoutId id="2147484085" r:id="rId128"/>
    <p:sldLayoutId id="2147484086" r:id="rId129"/>
    <p:sldLayoutId id="2147484087" r:id="rId130"/>
    <p:sldLayoutId id="2147484088" r:id="rId131"/>
    <p:sldLayoutId id="2147484089" r:id="rId132"/>
    <p:sldLayoutId id="2147484090" r:id="rId133"/>
    <p:sldLayoutId id="2147484091" r:id="rId134"/>
    <p:sldLayoutId id="2147484092" r:id="rId135"/>
    <p:sldLayoutId id="2147484093" r:id="rId136"/>
    <p:sldLayoutId id="2147484094" r:id="rId137"/>
    <p:sldLayoutId id="2147484095" r:id="rId138"/>
    <p:sldLayoutId id="2147484096" r:id="rId139"/>
    <p:sldLayoutId id="2147484097" r:id="rId140"/>
    <p:sldLayoutId id="2147484098" r:id="rId141"/>
    <p:sldLayoutId id="2147484099" r:id="rId142"/>
    <p:sldLayoutId id="2147484100" r:id="rId143"/>
    <p:sldLayoutId id="2147484101" r:id="rId144"/>
    <p:sldLayoutId id="2147484102" r:id="rId145"/>
    <p:sldLayoutId id="2147484103" r:id="rId146"/>
    <p:sldLayoutId id="2147484104" r:id="rId147"/>
    <p:sldLayoutId id="2147484105" r:id="rId148"/>
    <p:sldLayoutId id="2147484106" r:id="rId149"/>
    <p:sldLayoutId id="2147484107" r:id="rId150"/>
    <p:sldLayoutId id="2147484108" r:id="rId151"/>
    <p:sldLayoutId id="2147484109" r:id="rId152"/>
    <p:sldLayoutId id="2147484110" r:id="rId153"/>
    <p:sldLayoutId id="2147484111" r:id="rId154"/>
    <p:sldLayoutId id="2147484112" r:id="rId155"/>
    <p:sldLayoutId id="2147484113" r:id="rId156"/>
    <p:sldLayoutId id="2147484114" r:id="rId157"/>
    <p:sldLayoutId id="2147484115" r:id="rId158"/>
    <p:sldLayoutId id="2147484116" r:id="rId159"/>
    <p:sldLayoutId id="2147484117" r:id="rId160"/>
    <p:sldLayoutId id="2147484118" r:id="rId161"/>
    <p:sldLayoutId id="2147484119" r:id="rId162"/>
    <p:sldLayoutId id="2147484120" r:id="rId163"/>
    <p:sldLayoutId id="2147484121" r:id="rId164"/>
    <p:sldLayoutId id="2147484122" r:id="rId165"/>
    <p:sldLayoutId id="2147484123" r:id="rId166"/>
    <p:sldLayoutId id="2147484124" r:id="rId167"/>
    <p:sldLayoutId id="2147484125" r:id="rId168"/>
    <p:sldLayoutId id="2147484126" r:id="rId169"/>
    <p:sldLayoutId id="2147484127" r:id="rId170"/>
    <p:sldLayoutId id="2147484128" r:id="rId171"/>
    <p:sldLayoutId id="2147484129" r:id="rId172"/>
    <p:sldLayoutId id="2147484130" r:id="rId173"/>
    <p:sldLayoutId id="2147484131" r:id="rId174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98513" indent="-228600" algn="l" defTabSz="914400" rtl="0" eaLnBrk="1" latinLnBrk="0" hangingPunct="1">
        <a:lnSpc>
          <a:spcPct val="90000"/>
        </a:lnSpc>
        <a:spcBef>
          <a:spcPts val="500"/>
        </a:spcBef>
        <a:buFont typeface="Aktiv Grotesk Medium" panose="020B05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738" indent="-228600" algn="l" defTabSz="914400" rtl="0" eaLnBrk="1" latinLnBrk="0" hangingPunct="1">
        <a:lnSpc>
          <a:spcPct val="90000"/>
        </a:lnSpc>
        <a:spcBef>
          <a:spcPts val="500"/>
        </a:spcBef>
        <a:buFont typeface="Aktiv Grotesk Medium" panose="020B0504020202020204" pitchFamily="34" charset="0"/>
        <a:buChar char="▪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40">
          <p15:clr>
            <a:srgbClr val="5ACBF0"/>
          </p15:clr>
        </p15:guide>
        <p15:guide id="4" pos="240">
          <p15:clr>
            <a:srgbClr val="5ACBF0"/>
          </p15:clr>
        </p15:guide>
        <p15:guide id="5" pos="7440">
          <p15:clr>
            <a:srgbClr val="5ACBF0"/>
          </p15:clr>
        </p15:guide>
        <p15:guide id="6" pos="3720">
          <p15:clr>
            <a:srgbClr val="5ACBF0"/>
          </p15:clr>
        </p15:guide>
        <p15:guide id="7" pos="3960">
          <p15:clr>
            <a:srgbClr val="5ACBF0"/>
          </p15:clr>
        </p15:guide>
        <p15:guide id="8" orient="horz" pos="528">
          <p15:clr>
            <a:srgbClr val="5ACBF0"/>
          </p15:clr>
        </p15:guide>
        <p15:guide id="9" orient="horz" pos="936">
          <p15:clr>
            <a:srgbClr val="5ACBF0"/>
          </p15:clr>
        </p15:guide>
        <p15:guide id="10" orient="horz" pos="3624">
          <p15:clr>
            <a:srgbClr val="5ACBF0"/>
          </p15:clr>
        </p15:guide>
        <p15:guide id="11" orient="horz" pos="4080">
          <p15:clr>
            <a:srgbClr val="5ACBF0"/>
          </p15:clr>
        </p15:guide>
        <p15:guide id="12" orient="horz" pos="1200">
          <p15:clr>
            <a:srgbClr val="5ACBF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78F7E2-2283-A247-8B63-3805C8CFA7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625" y="331200"/>
            <a:ext cx="11412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04FEFF-E4CC-6040-BDB6-B5A69A6D5E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94434" y="6285600"/>
            <a:ext cx="72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400">
                <a:solidFill>
                  <a:schemeClr val="accent1"/>
                </a:solidFill>
                <a:latin typeface="Aktiv Grotesk" panose="020B0504020202020204" pitchFamily="34" charset="0"/>
              </a:defRPr>
            </a:lvl1pPr>
          </a:lstStyle>
          <a:p>
            <a:fld id="{F618B75B-45BB-9C4B-9E16-0D1DF46F8D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A4F96C2E-79C4-9D4C-BDE7-02790CCB42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800" y="1476000"/>
            <a:ext cx="1141200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506E886D-F653-48B7-9AD8-A32C900F0A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2025" y="6285600"/>
            <a:ext cx="4572000" cy="288000"/>
          </a:xfrm>
          <a:prstGeom prst="rect">
            <a:avLst/>
          </a:prstGeom>
        </p:spPr>
        <p:txBody>
          <a:bodyPr wrap="none" lIns="0" tIns="0" rIns="0" bIns="0" anchor="ctr" anchorCtr="0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en-US"/>
              <a:t>IATA Consulting Research for SafeFlight Inc.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45934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3" r:id="rId1"/>
    <p:sldLayoutId id="2147484134" r:id="rId2"/>
    <p:sldLayoutId id="2147484135" r:id="rId3"/>
    <p:sldLayoutId id="2147484136" r:id="rId4"/>
    <p:sldLayoutId id="2147484137" r:id="rId5"/>
    <p:sldLayoutId id="2147484138" r:id="rId6"/>
    <p:sldLayoutId id="2147484139" r:id="rId7"/>
    <p:sldLayoutId id="2147484140" r:id="rId8"/>
    <p:sldLayoutId id="2147484141" r:id="rId9"/>
    <p:sldLayoutId id="2147484142" r:id="rId10"/>
    <p:sldLayoutId id="2147484143" r:id="rId11"/>
    <p:sldLayoutId id="2147484144" r:id="rId12"/>
    <p:sldLayoutId id="2147484145" r:id="rId13"/>
    <p:sldLayoutId id="2147484146" r:id="rId14"/>
    <p:sldLayoutId id="2147484147" r:id="rId15"/>
    <p:sldLayoutId id="2147484148" r:id="rId16"/>
    <p:sldLayoutId id="2147484149" r:id="rId17"/>
    <p:sldLayoutId id="2147484150" r:id="rId18"/>
    <p:sldLayoutId id="2147484151" r:id="rId19"/>
    <p:sldLayoutId id="2147484152" r:id="rId20"/>
    <p:sldLayoutId id="2147484153" r:id="rId21"/>
    <p:sldLayoutId id="2147484154" r:id="rId22"/>
    <p:sldLayoutId id="2147484155" r:id="rId23"/>
    <p:sldLayoutId id="2147484156" r:id="rId24"/>
    <p:sldLayoutId id="2147484157" r:id="rId25"/>
    <p:sldLayoutId id="2147484158" r:id="rId26"/>
    <p:sldLayoutId id="2147484159" r:id="rId27"/>
    <p:sldLayoutId id="2147484160" r:id="rId28"/>
    <p:sldLayoutId id="2147484161" r:id="rId29"/>
    <p:sldLayoutId id="2147484162" r:id="rId30"/>
    <p:sldLayoutId id="2147484163" r:id="rId31"/>
    <p:sldLayoutId id="2147484164" r:id="rId32"/>
    <p:sldLayoutId id="2147484165" r:id="rId33"/>
    <p:sldLayoutId id="2147484166" r:id="rId34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0" i="0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500"/>
        </a:spcAft>
        <a:buFont typeface="Arial" panose="020B0604020202020204" pitchFamily="34" charset="0"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14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700"/>
        </a:spcAft>
        <a:buSzPct val="110000"/>
        <a:buFont typeface="Aktiv Grotesk" panose="020B0504020202020204" pitchFamily="34" charset="0"/>
        <a:buChar char="–"/>
        <a:defRPr sz="1400" kern="1200">
          <a:solidFill>
            <a:schemeClr val="tx1"/>
          </a:solidFill>
          <a:latin typeface="Aktiv Grotesk" panose="020B0504020202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10000"/>
        <a:buFontTx/>
        <a:buNone/>
        <a:defRPr sz="1400" kern="1200">
          <a:solidFill>
            <a:schemeClr val="accent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pos="7432">
          <p15:clr>
            <a:srgbClr val="F26B43"/>
          </p15:clr>
        </p15:guide>
        <p15:guide id="13" pos="248">
          <p15:clr>
            <a:srgbClr val="F26B43"/>
          </p15:clr>
        </p15:guide>
        <p15:guide id="14" orient="horz" pos="928">
          <p15:clr>
            <a:srgbClr val="F26B43"/>
          </p15:clr>
        </p15:guide>
        <p15:guide id="15" orient="horz" pos="3608">
          <p15:clr>
            <a:srgbClr val="F26B43"/>
          </p15:clr>
        </p15:guide>
        <p15:guide id="16" orient="horz" pos="3955">
          <p15:clr>
            <a:srgbClr val="F26B43"/>
          </p15:clr>
        </p15:guide>
        <p15:guide id="17" orient="horz" pos="4144">
          <p15:clr>
            <a:srgbClr val="F26B43"/>
          </p15:clr>
        </p15:guide>
        <p15:guide id="18" orient="horz" pos="664">
          <p15:clr>
            <a:srgbClr val="F26B43"/>
          </p15:clr>
        </p15:guide>
        <p15:guide id="19" orient="horz" pos="208">
          <p15:clr>
            <a:srgbClr val="F26B43"/>
          </p15:clr>
        </p15:guide>
        <p15:guide id="21" pos="2778">
          <p15:clr>
            <a:srgbClr val="F26B43"/>
          </p15:clr>
        </p15:guide>
        <p15:guide id="22" pos="4902">
          <p15:clr>
            <a:srgbClr val="F26B43"/>
          </p15:clr>
        </p15:guide>
        <p15:guide id="23" pos="2573">
          <p15:clr>
            <a:srgbClr val="F26B43"/>
          </p15:clr>
        </p15:guide>
        <p15:guide id="24" pos="5106">
          <p15:clr>
            <a:srgbClr val="F26B43"/>
          </p15:clr>
        </p15:guide>
        <p15:guide id="25" pos="3941">
          <p15:clr>
            <a:srgbClr val="F26B43"/>
          </p15:clr>
        </p15:guide>
        <p15:guide id="26" pos="37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11.xml"/><Relationship Id="rId7" Type="http://schemas.openxmlformats.org/officeDocument/2006/relationships/image" Target="../media/image2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12.xml"/><Relationship Id="rId4" Type="http://schemas.openxmlformats.org/officeDocument/2006/relationships/image" Target="../media/image2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80.xml"/><Relationship Id="rId1" Type="http://schemas.openxmlformats.org/officeDocument/2006/relationships/tags" Target="../tags/tag13.xml"/><Relationship Id="rId6" Type="http://schemas.openxmlformats.org/officeDocument/2006/relationships/image" Target="../media/image26.jpe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38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svg"/><Relationship Id="rId4" Type="http://schemas.openxmlformats.org/officeDocument/2006/relationships/image" Target="../media/image29.svg"/><Relationship Id="rId9" Type="http://schemas.openxmlformats.org/officeDocument/2006/relationships/image" Target="../media/image34.png"/><Relationship Id="rId14" Type="http://schemas.openxmlformats.org/officeDocument/2006/relationships/image" Target="../media/image39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slideLayout" Target="../slideLayouts/slideLayout262.xml"/><Relationship Id="rId1" Type="http://schemas.openxmlformats.org/officeDocument/2006/relationships/tags" Target="../tags/tag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2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Rectangle 11">
            <a:extLst>
              <a:ext uri="{FF2B5EF4-FFF2-40B4-BE49-F238E27FC236}">
                <a16:creationId xmlns:a16="http://schemas.microsoft.com/office/drawing/2014/main" id="{7B60CFC7-87AC-4B27-AB0A-27160F86636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6" r="555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D8A46821-1A05-4C73-899E-DC427BAFFC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5750" y="323850"/>
            <a:ext cx="5904000" cy="2387600"/>
          </a:xfr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Международная ассоциация воздушного транспорта </a:t>
            </a:r>
            <a:endParaRPr lang="en-US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05977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4596384"/>
            <a:ext cx="16764" cy="171754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0527792" y="5678423"/>
            <a:ext cx="1283335" cy="803275"/>
          </a:xfrm>
          <a:custGeom>
            <a:avLst/>
            <a:gdLst/>
            <a:ahLst/>
            <a:cxnLst/>
            <a:rect l="l" t="t" r="r" b="b"/>
            <a:pathLst>
              <a:path w="1283334" h="803275">
                <a:moveTo>
                  <a:pt x="1283207" y="259689"/>
                </a:moveTo>
                <a:lnTo>
                  <a:pt x="882141" y="259689"/>
                </a:lnTo>
                <a:lnTo>
                  <a:pt x="868923" y="301159"/>
                </a:lnTo>
                <a:lnTo>
                  <a:pt x="846348" y="339452"/>
                </a:lnTo>
                <a:lnTo>
                  <a:pt x="813713" y="374299"/>
                </a:lnTo>
                <a:lnTo>
                  <a:pt x="770442" y="405342"/>
                </a:lnTo>
                <a:lnTo>
                  <a:pt x="715772" y="432358"/>
                </a:lnTo>
                <a:lnTo>
                  <a:pt x="729168" y="457009"/>
                </a:lnTo>
                <a:lnTo>
                  <a:pt x="750554" y="477958"/>
                </a:lnTo>
                <a:lnTo>
                  <a:pt x="777440" y="492505"/>
                </a:lnTo>
                <a:lnTo>
                  <a:pt x="807338" y="497954"/>
                </a:lnTo>
                <a:lnTo>
                  <a:pt x="1024508" y="497954"/>
                </a:lnTo>
                <a:lnTo>
                  <a:pt x="1048127" y="493331"/>
                </a:lnTo>
                <a:lnTo>
                  <a:pt x="1068196" y="481555"/>
                </a:lnTo>
                <a:lnTo>
                  <a:pt x="1083980" y="465764"/>
                </a:lnTo>
                <a:lnTo>
                  <a:pt x="1094739" y="449097"/>
                </a:lnTo>
                <a:lnTo>
                  <a:pt x="873505" y="449097"/>
                </a:lnTo>
                <a:lnTo>
                  <a:pt x="865905" y="446241"/>
                </a:lnTo>
                <a:lnTo>
                  <a:pt x="863187" y="441815"/>
                </a:lnTo>
                <a:lnTo>
                  <a:pt x="865469" y="437515"/>
                </a:lnTo>
                <a:lnTo>
                  <a:pt x="872871" y="435038"/>
                </a:lnTo>
                <a:lnTo>
                  <a:pt x="1090040" y="435038"/>
                </a:lnTo>
                <a:lnTo>
                  <a:pt x="1110466" y="430980"/>
                </a:lnTo>
                <a:lnTo>
                  <a:pt x="1129141" y="420144"/>
                </a:lnTo>
                <a:lnTo>
                  <a:pt x="1145315" y="404541"/>
                </a:lnTo>
                <a:lnTo>
                  <a:pt x="1158239" y="386181"/>
                </a:lnTo>
                <a:lnTo>
                  <a:pt x="905636" y="386181"/>
                </a:lnTo>
                <a:lnTo>
                  <a:pt x="898493" y="383327"/>
                </a:lnTo>
                <a:lnTo>
                  <a:pt x="896111" y="378904"/>
                </a:lnTo>
                <a:lnTo>
                  <a:pt x="898493" y="374605"/>
                </a:lnTo>
                <a:lnTo>
                  <a:pt x="905636" y="372122"/>
                </a:lnTo>
                <a:lnTo>
                  <a:pt x="1160272" y="372122"/>
                </a:lnTo>
                <a:lnTo>
                  <a:pt x="1178764" y="367217"/>
                </a:lnTo>
                <a:lnTo>
                  <a:pt x="1195435" y="354971"/>
                </a:lnTo>
                <a:lnTo>
                  <a:pt x="1209224" y="339086"/>
                </a:lnTo>
                <a:lnTo>
                  <a:pt x="1219073" y="323265"/>
                </a:lnTo>
                <a:lnTo>
                  <a:pt x="939037" y="323265"/>
                </a:lnTo>
                <a:lnTo>
                  <a:pt x="931108" y="320108"/>
                </a:lnTo>
                <a:lnTo>
                  <a:pt x="928465" y="315069"/>
                </a:lnTo>
                <a:lnTo>
                  <a:pt x="931108" y="310280"/>
                </a:lnTo>
                <a:lnTo>
                  <a:pt x="939037" y="307873"/>
                </a:lnTo>
                <a:lnTo>
                  <a:pt x="1223772" y="307873"/>
                </a:lnTo>
                <a:lnTo>
                  <a:pt x="1240488" y="303825"/>
                </a:lnTo>
                <a:lnTo>
                  <a:pt x="1256252" y="293063"/>
                </a:lnTo>
                <a:lnTo>
                  <a:pt x="1270634" y="277660"/>
                </a:lnTo>
                <a:lnTo>
                  <a:pt x="1283207" y="259689"/>
                </a:lnTo>
                <a:close/>
              </a:path>
              <a:path w="1283334" h="803275">
                <a:moveTo>
                  <a:pt x="722502" y="314566"/>
                </a:moveTo>
                <a:lnTo>
                  <a:pt x="709765" y="335313"/>
                </a:lnTo>
                <a:lnTo>
                  <a:pt x="695563" y="354553"/>
                </a:lnTo>
                <a:lnTo>
                  <a:pt x="679622" y="372539"/>
                </a:lnTo>
                <a:lnTo>
                  <a:pt x="661669" y="389521"/>
                </a:lnTo>
                <a:lnTo>
                  <a:pt x="691582" y="383731"/>
                </a:lnTo>
                <a:lnTo>
                  <a:pt x="720040" y="374276"/>
                </a:lnTo>
                <a:lnTo>
                  <a:pt x="746644" y="361102"/>
                </a:lnTo>
                <a:lnTo>
                  <a:pt x="771271" y="344017"/>
                </a:lnTo>
                <a:lnTo>
                  <a:pt x="760150" y="335272"/>
                </a:lnTo>
                <a:lnTo>
                  <a:pt x="748125" y="327282"/>
                </a:lnTo>
                <a:lnTo>
                  <a:pt x="735480" y="320296"/>
                </a:lnTo>
                <a:lnTo>
                  <a:pt x="722502" y="314566"/>
                </a:lnTo>
                <a:close/>
              </a:path>
              <a:path w="1283334" h="803275">
                <a:moveTo>
                  <a:pt x="648969" y="298500"/>
                </a:moveTo>
                <a:lnTo>
                  <a:pt x="648969" y="382168"/>
                </a:lnTo>
                <a:lnTo>
                  <a:pt x="666418" y="366425"/>
                </a:lnTo>
                <a:lnTo>
                  <a:pt x="682450" y="348614"/>
                </a:lnTo>
                <a:lnTo>
                  <a:pt x="696600" y="329176"/>
                </a:lnTo>
                <a:lnTo>
                  <a:pt x="708405" y="308546"/>
                </a:lnTo>
                <a:lnTo>
                  <a:pt x="694064" y="304431"/>
                </a:lnTo>
                <a:lnTo>
                  <a:pt x="679211" y="301261"/>
                </a:lnTo>
                <a:lnTo>
                  <a:pt x="664096" y="299222"/>
                </a:lnTo>
                <a:lnTo>
                  <a:pt x="648969" y="298500"/>
                </a:lnTo>
                <a:close/>
              </a:path>
              <a:path w="1283334" h="803275">
                <a:moveTo>
                  <a:pt x="842136" y="201460"/>
                </a:moveTo>
                <a:lnTo>
                  <a:pt x="753236" y="201460"/>
                </a:lnTo>
                <a:lnTo>
                  <a:pt x="751050" y="227871"/>
                </a:lnTo>
                <a:lnTo>
                  <a:pt x="746505" y="253157"/>
                </a:lnTo>
                <a:lnTo>
                  <a:pt x="739485" y="277692"/>
                </a:lnTo>
                <a:lnTo>
                  <a:pt x="729868" y="301853"/>
                </a:lnTo>
                <a:lnTo>
                  <a:pt x="743640" y="308764"/>
                </a:lnTo>
                <a:lnTo>
                  <a:pt x="756983" y="316491"/>
                </a:lnTo>
                <a:lnTo>
                  <a:pt x="769945" y="325097"/>
                </a:lnTo>
                <a:lnTo>
                  <a:pt x="782574" y="334644"/>
                </a:lnTo>
                <a:lnTo>
                  <a:pt x="806864" y="305833"/>
                </a:lnTo>
                <a:lnTo>
                  <a:pt x="825166" y="273319"/>
                </a:lnTo>
                <a:lnTo>
                  <a:pt x="837062" y="238172"/>
                </a:lnTo>
                <a:lnTo>
                  <a:pt x="842136" y="201460"/>
                </a:lnTo>
                <a:close/>
              </a:path>
              <a:path w="1283334" h="803275">
                <a:moveTo>
                  <a:pt x="737869" y="201460"/>
                </a:moveTo>
                <a:lnTo>
                  <a:pt x="648969" y="201460"/>
                </a:lnTo>
                <a:lnTo>
                  <a:pt x="648969" y="283781"/>
                </a:lnTo>
                <a:lnTo>
                  <a:pt x="665819" y="284732"/>
                </a:lnTo>
                <a:lnTo>
                  <a:pt x="682894" y="287375"/>
                </a:lnTo>
                <a:lnTo>
                  <a:pt x="699708" y="291400"/>
                </a:lnTo>
                <a:lnTo>
                  <a:pt x="715772" y="296494"/>
                </a:lnTo>
                <a:lnTo>
                  <a:pt x="725171" y="273553"/>
                </a:lnTo>
                <a:lnTo>
                  <a:pt x="732107" y="249982"/>
                </a:lnTo>
                <a:lnTo>
                  <a:pt x="736399" y="225908"/>
                </a:lnTo>
                <a:lnTo>
                  <a:pt x="737869" y="201460"/>
                </a:lnTo>
                <a:close/>
              </a:path>
              <a:path w="1283334" h="803275">
                <a:moveTo>
                  <a:pt x="400938" y="259689"/>
                </a:moveTo>
                <a:lnTo>
                  <a:pt x="0" y="259689"/>
                </a:lnTo>
                <a:lnTo>
                  <a:pt x="12572" y="277660"/>
                </a:lnTo>
                <a:lnTo>
                  <a:pt x="26955" y="293063"/>
                </a:lnTo>
                <a:lnTo>
                  <a:pt x="42719" y="303825"/>
                </a:lnTo>
                <a:lnTo>
                  <a:pt x="59435" y="307873"/>
                </a:lnTo>
                <a:lnTo>
                  <a:pt x="344169" y="307873"/>
                </a:lnTo>
                <a:lnTo>
                  <a:pt x="352099" y="310280"/>
                </a:lnTo>
                <a:lnTo>
                  <a:pt x="354742" y="315069"/>
                </a:lnTo>
                <a:lnTo>
                  <a:pt x="352099" y="320108"/>
                </a:lnTo>
                <a:lnTo>
                  <a:pt x="344169" y="323265"/>
                </a:lnTo>
                <a:lnTo>
                  <a:pt x="64134" y="323265"/>
                </a:lnTo>
                <a:lnTo>
                  <a:pt x="73983" y="339086"/>
                </a:lnTo>
                <a:lnTo>
                  <a:pt x="87772" y="354971"/>
                </a:lnTo>
                <a:lnTo>
                  <a:pt x="104443" y="367217"/>
                </a:lnTo>
                <a:lnTo>
                  <a:pt x="122935" y="372122"/>
                </a:lnTo>
                <a:lnTo>
                  <a:pt x="377571" y="372122"/>
                </a:lnTo>
                <a:lnTo>
                  <a:pt x="384714" y="374605"/>
                </a:lnTo>
                <a:lnTo>
                  <a:pt x="387096" y="378904"/>
                </a:lnTo>
                <a:lnTo>
                  <a:pt x="384714" y="383327"/>
                </a:lnTo>
                <a:lnTo>
                  <a:pt x="377571" y="386181"/>
                </a:lnTo>
                <a:lnTo>
                  <a:pt x="124967" y="386181"/>
                </a:lnTo>
                <a:lnTo>
                  <a:pt x="137892" y="404541"/>
                </a:lnTo>
                <a:lnTo>
                  <a:pt x="154066" y="420144"/>
                </a:lnTo>
                <a:lnTo>
                  <a:pt x="172741" y="430980"/>
                </a:lnTo>
                <a:lnTo>
                  <a:pt x="193166" y="435038"/>
                </a:lnTo>
                <a:lnTo>
                  <a:pt x="410336" y="435038"/>
                </a:lnTo>
                <a:lnTo>
                  <a:pt x="417738" y="437515"/>
                </a:lnTo>
                <a:lnTo>
                  <a:pt x="420020" y="441815"/>
                </a:lnTo>
                <a:lnTo>
                  <a:pt x="417302" y="446241"/>
                </a:lnTo>
                <a:lnTo>
                  <a:pt x="409701" y="449097"/>
                </a:lnTo>
                <a:lnTo>
                  <a:pt x="188467" y="449097"/>
                </a:lnTo>
                <a:lnTo>
                  <a:pt x="199227" y="465764"/>
                </a:lnTo>
                <a:lnTo>
                  <a:pt x="215011" y="481555"/>
                </a:lnTo>
                <a:lnTo>
                  <a:pt x="235080" y="493331"/>
                </a:lnTo>
                <a:lnTo>
                  <a:pt x="258699" y="497954"/>
                </a:lnTo>
                <a:lnTo>
                  <a:pt x="475868" y="497954"/>
                </a:lnTo>
                <a:lnTo>
                  <a:pt x="505767" y="492505"/>
                </a:lnTo>
                <a:lnTo>
                  <a:pt x="532653" y="477958"/>
                </a:lnTo>
                <a:lnTo>
                  <a:pt x="554039" y="457009"/>
                </a:lnTo>
                <a:lnTo>
                  <a:pt x="567435" y="432358"/>
                </a:lnTo>
                <a:lnTo>
                  <a:pt x="512764" y="405342"/>
                </a:lnTo>
                <a:lnTo>
                  <a:pt x="469454" y="374276"/>
                </a:lnTo>
                <a:lnTo>
                  <a:pt x="436832" y="339452"/>
                </a:lnTo>
                <a:lnTo>
                  <a:pt x="414219" y="301159"/>
                </a:lnTo>
                <a:lnTo>
                  <a:pt x="400938" y="259689"/>
                </a:lnTo>
                <a:close/>
              </a:path>
              <a:path w="1283334" h="803275">
                <a:moveTo>
                  <a:pt x="560704" y="314566"/>
                </a:moveTo>
                <a:lnTo>
                  <a:pt x="547804" y="320108"/>
                </a:lnTo>
                <a:lnTo>
                  <a:pt x="535241" y="327282"/>
                </a:lnTo>
                <a:lnTo>
                  <a:pt x="523057" y="335461"/>
                </a:lnTo>
                <a:lnTo>
                  <a:pt x="511301" y="344017"/>
                </a:lnTo>
                <a:lnTo>
                  <a:pt x="536027" y="361102"/>
                </a:lnTo>
                <a:lnTo>
                  <a:pt x="562895" y="374299"/>
                </a:lnTo>
                <a:lnTo>
                  <a:pt x="591526" y="383731"/>
                </a:lnTo>
                <a:lnTo>
                  <a:pt x="621537" y="389521"/>
                </a:lnTo>
                <a:lnTo>
                  <a:pt x="603585" y="372539"/>
                </a:lnTo>
                <a:lnTo>
                  <a:pt x="587644" y="354553"/>
                </a:lnTo>
                <a:lnTo>
                  <a:pt x="573442" y="335313"/>
                </a:lnTo>
                <a:lnTo>
                  <a:pt x="560704" y="314566"/>
                </a:lnTo>
                <a:close/>
              </a:path>
              <a:path w="1283334" h="803275">
                <a:moveTo>
                  <a:pt x="634873" y="298500"/>
                </a:moveTo>
                <a:lnTo>
                  <a:pt x="619378" y="299129"/>
                </a:lnTo>
                <a:lnTo>
                  <a:pt x="604075" y="301013"/>
                </a:lnTo>
                <a:lnTo>
                  <a:pt x="589152" y="304153"/>
                </a:lnTo>
                <a:lnTo>
                  <a:pt x="574801" y="308546"/>
                </a:lnTo>
                <a:lnTo>
                  <a:pt x="586616" y="329155"/>
                </a:lnTo>
                <a:lnTo>
                  <a:pt x="600837" y="348446"/>
                </a:lnTo>
                <a:lnTo>
                  <a:pt x="617057" y="365857"/>
                </a:lnTo>
                <a:lnTo>
                  <a:pt x="634873" y="380822"/>
                </a:lnTo>
                <a:lnTo>
                  <a:pt x="634873" y="298500"/>
                </a:lnTo>
                <a:close/>
              </a:path>
              <a:path w="1283334" h="803275">
                <a:moveTo>
                  <a:pt x="529971" y="201460"/>
                </a:moveTo>
                <a:lnTo>
                  <a:pt x="441071" y="201460"/>
                </a:lnTo>
                <a:lnTo>
                  <a:pt x="446412" y="238740"/>
                </a:lnTo>
                <a:lnTo>
                  <a:pt x="458283" y="273831"/>
                </a:lnTo>
                <a:lnTo>
                  <a:pt x="476432" y="306023"/>
                </a:lnTo>
                <a:lnTo>
                  <a:pt x="500633" y="334644"/>
                </a:lnTo>
                <a:lnTo>
                  <a:pt x="513274" y="325097"/>
                </a:lnTo>
                <a:lnTo>
                  <a:pt x="526319" y="316491"/>
                </a:lnTo>
                <a:lnTo>
                  <a:pt x="539888" y="308764"/>
                </a:lnTo>
                <a:lnTo>
                  <a:pt x="554101" y="301853"/>
                </a:lnTo>
                <a:lnTo>
                  <a:pt x="544669" y="277408"/>
                </a:lnTo>
                <a:lnTo>
                  <a:pt x="537511" y="252904"/>
                </a:lnTo>
                <a:lnTo>
                  <a:pt x="532616" y="227776"/>
                </a:lnTo>
                <a:lnTo>
                  <a:pt x="529971" y="201460"/>
                </a:lnTo>
                <a:close/>
              </a:path>
              <a:path w="1283334" h="803275">
                <a:moveTo>
                  <a:pt x="634873" y="201460"/>
                </a:moveTo>
                <a:lnTo>
                  <a:pt x="545337" y="201460"/>
                </a:lnTo>
                <a:lnTo>
                  <a:pt x="547076" y="226001"/>
                </a:lnTo>
                <a:lnTo>
                  <a:pt x="551338" y="250229"/>
                </a:lnTo>
                <a:lnTo>
                  <a:pt x="558125" y="273831"/>
                </a:lnTo>
                <a:lnTo>
                  <a:pt x="567435" y="296494"/>
                </a:lnTo>
                <a:lnTo>
                  <a:pt x="583688" y="291400"/>
                </a:lnTo>
                <a:lnTo>
                  <a:pt x="600392" y="287375"/>
                </a:lnTo>
                <a:lnTo>
                  <a:pt x="617477" y="284732"/>
                </a:lnTo>
                <a:lnTo>
                  <a:pt x="634873" y="283781"/>
                </a:lnTo>
                <a:lnTo>
                  <a:pt x="634873" y="201460"/>
                </a:lnTo>
                <a:close/>
              </a:path>
              <a:path w="1283334" h="803275">
                <a:moveTo>
                  <a:pt x="715772" y="93027"/>
                </a:moveTo>
                <a:lnTo>
                  <a:pt x="699529" y="98028"/>
                </a:lnTo>
                <a:lnTo>
                  <a:pt x="682894" y="101900"/>
                </a:lnTo>
                <a:lnTo>
                  <a:pt x="665997" y="104516"/>
                </a:lnTo>
                <a:lnTo>
                  <a:pt x="648969" y="105752"/>
                </a:lnTo>
                <a:lnTo>
                  <a:pt x="648969" y="187401"/>
                </a:lnTo>
                <a:lnTo>
                  <a:pt x="737869" y="187401"/>
                </a:lnTo>
                <a:lnTo>
                  <a:pt x="736399" y="163057"/>
                </a:lnTo>
                <a:lnTo>
                  <a:pt x="732107" y="139214"/>
                </a:lnTo>
                <a:lnTo>
                  <a:pt x="725171" y="115870"/>
                </a:lnTo>
                <a:lnTo>
                  <a:pt x="715772" y="93027"/>
                </a:lnTo>
                <a:close/>
              </a:path>
              <a:path w="1283334" h="803275">
                <a:moveTo>
                  <a:pt x="782574" y="54876"/>
                </a:moveTo>
                <a:lnTo>
                  <a:pt x="770213" y="64426"/>
                </a:lnTo>
                <a:lnTo>
                  <a:pt x="757221" y="73036"/>
                </a:lnTo>
                <a:lnTo>
                  <a:pt x="743729" y="80767"/>
                </a:lnTo>
                <a:lnTo>
                  <a:pt x="729868" y="87680"/>
                </a:lnTo>
                <a:lnTo>
                  <a:pt x="739217" y="111545"/>
                </a:lnTo>
                <a:lnTo>
                  <a:pt x="746267" y="136036"/>
                </a:lnTo>
                <a:lnTo>
                  <a:pt x="750960" y="161279"/>
                </a:lnTo>
                <a:lnTo>
                  <a:pt x="753236" y="187401"/>
                </a:lnTo>
                <a:lnTo>
                  <a:pt x="842136" y="187401"/>
                </a:lnTo>
                <a:lnTo>
                  <a:pt x="837330" y="151354"/>
                </a:lnTo>
                <a:lnTo>
                  <a:pt x="825880" y="116876"/>
                </a:lnTo>
                <a:lnTo>
                  <a:pt x="807668" y="84529"/>
                </a:lnTo>
                <a:lnTo>
                  <a:pt x="782574" y="54876"/>
                </a:lnTo>
                <a:close/>
              </a:path>
              <a:path w="1283334" h="803275">
                <a:moveTo>
                  <a:pt x="648969" y="8026"/>
                </a:moveTo>
                <a:lnTo>
                  <a:pt x="648969" y="91693"/>
                </a:lnTo>
                <a:lnTo>
                  <a:pt x="664096" y="90857"/>
                </a:lnTo>
                <a:lnTo>
                  <a:pt x="679211" y="88514"/>
                </a:lnTo>
                <a:lnTo>
                  <a:pt x="694064" y="84916"/>
                </a:lnTo>
                <a:lnTo>
                  <a:pt x="708405" y="80314"/>
                </a:lnTo>
                <a:lnTo>
                  <a:pt x="696600" y="60172"/>
                </a:lnTo>
                <a:lnTo>
                  <a:pt x="682450" y="41160"/>
                </a:lnTo>
                <a:lnTo>
                  <a:pt x="666418" y="23654"/>
                </a:lnTo>
                <a:lnTo>
                  <a:pt x="648969" y="8026"/>
                </a:lnTo>
                <a:close/>
              </a:path>
              <a:path w="1283334" h="803275">
                <a:moveTo>
                  <a:pt x="661669" y="0"/>
                </a:moveTo>
                <a:lnTo>
                  <a:pt x="679622" y="16899"/>
                </a:lnTo>
                <a:lnTo>
                  <a:pt x="695563" y="34804"/>
                </a:lnTo>
                <a:lnTo>
                  <a:pt x="709765" y="54213"/>
                </a:lnTo>
                <a:lnTo>
                  <a:pt x="722502" y="75628"/>
                </a:lnTo>
                <a:lnTo>
                  <a:pt x="735480" y="69782"/>
                </a:lnTo>
                <a:lnTo>
                  <a:pt x="748125" y="62493"/>
                </a:lnTo>
                <a:lnTo>
                  <a:pt x="760150" y="54075"/>
                </a:lnTo>
                <a:lnTo>
                  <a:pt x="771271" y="44843"/>
                </a:lnTo>
                <a:lnTo>
                  <a:pt x="746644" y="28048"/>
                </a:lnTo>
                <a:lnTo>
                  <a:pt x="719994" y="14892"/>
                </a:lnTo>
                <a:lnTo>
                  <a:pt x="691582" y="5501"/>
                </a:lnTo>
                <a:lnTo>
                  <a:pt x="661669" y="0"/>
                </a:lnTo>
                <a:close/>
              </a:path>
              <a:path w="1283334" h="803275">
                <a:moveTo>
                  <a:pt x="500633" y="54876"/>
                </a:moveTo>
                <a:lnTo>
                  <a:pt x="476164" y="83772"/>
                </a:lnTo>
                <a:lnTo>
                  <a:pt x="458041" y="115866"/>
                </a:lnTo>
                <a:lnTo>
                  <a:pt x="446323" y="150597"/>
                </a:lnTo>
                <a:lnTo>
                  <a:pt x="441071" y="187401"/>
                </a:lnTo>
                <a:lnTo>
                  <a:pt x="529971" y="187401"/>
                </a:lnTo>
                <a:lnTo>
                  <a:pt x="532616" y="161372"/>
                </a:lnTo>
                <a:lnTo>
                  <a:pt x="537511" y="136283"/>
                </a:lnTo>
                <a:lnTo>
                  <a:pt x="544669" y="111823"/>
                </a:lnTo>
                <a:lnTo>
                  <a:pt x="554101" y="87680"/>
                </a:lnTo>
                <a:lnTo>
                  <a:pt x="539888" y="80862"/>
                </a:lnTo>
                <a:lnTo>
                  <a:pt x="526319" y="73288"/>
                </a:lnTo>
                <a:lnTo>
                  <a:pt x="513274" y="64710"/>
                </a:lnTo>
                <a:lnTo>
                  <a:pt x="500633" y="54876"/>
                </a:lnTo>
                <a:close/>
              </a:path>
              <a:path w="1283334" h="803275">
                <a:moveTo>
                  <a:pt x="567435" y="93027"/>
                </a:moveTo>
                <a:lnTo>
                  <a:pt x="558125" y="115679"/>
                </a:lnTo>
                <a:lnTo>
                  <a:pt x="551338" y="139209"/>
                </a:lnTo>
                <a:lnTo>
                  <a:pt x="547076" y="163241"/>
                </a:lnTo>
                <a:lnTo>
                  <a:pt x="545337" y="187401"/>
                </a:lnTo>
                <a:lnTo>
                  <a:pt x="634873" y="187401"/>
                </a:lnTo>
                <a:lnTo>
                  <a:pt x="634873" y="105752"/>
                </a:lnTo>
                <a:lnTo>
                  <a:pt x="617477" y="104516"/>
                </a:lnTo>
                <a:lnTo>
                  <a:pt x="600392" y="101900"/>
                </a:lnTo>
                <a:lnTo>
                  <a:pt x="583688" y="98028"/>
                </a:lnTo>
                <a:lnTo>
                  <a:pt x="567435" y="93027"/>
                </a:lnTo>
                <a:close/>
              </a:path>
              <a:path w="1283334" h="803275">
                <a:moveTo>
                  <a:pt x="634873" y="8026"/>
                </a:moveTo>
                <a:lnTo>
                  <a:pt x="617057" y="23748"/>
                </a:lnTo>
                <a:lnTo>
                  <a:pt x="600837" y="41413"/>
                </a:lnTo>
                <a:lnTo>
                  <a:pt x="586616" y="60456"/>
                </a:lnTo>
                <a:lnTo>
                  <a:pt x="574801" y="80314"/>
                </a:lnTo>
                <a:lnTo>
                  <a:pt x="589152" y="84632"/>
                </a:lnTo>
                <a:lnTo>
                  <a:pt x="604075" y="88261"/>
                </a:lnTo>
                <a:lnTo>
                  <a:pt x="619378" y="90762"/>
                </a:lnTo>
                <a:lnTo>
                  <a:pt x="634873" y="91693"/>
                </a:lnTo>
                <a:lnTo>
                  <a:pt x="634873" y="8026"/>
                </a:lnTo>
                <a:close/>
              </a:path>
              <a:path w="1283334" h="803275">
                <a:moveTo>
                  <a:pt x="621537" y="0"/>
                </a:moveTo>
                <a:lnTo>
                  <a:pt x="591615" y="5501"/>
                </a:lnTo>
                <a:lnTo>
                  <a:pt x="563133" y="14892"/>
                </a:lnTo>
                <a:lnTo>
                  <a:pt x="536295" y="28048"/>
                </a:lnTo>
                <a:lnTo>
                  <a:pt x="511301" y="44843"/>
                </a:lnTo>
                <a:lnTo>
                  <a:pt x="522968" y="54075"/>
                </a:lnTo>
                <a:lnTo>
                  <a:pt x="535003" y="62493"/>
                </a:lnTo>
                <a:lnTo>
                  <a:pt x="547538" y="69782"/>
                </a:lnTo>
                <a:lnTo>
                  <a:pt x="560704" y="75628"/>
                </a:lnTo>
                <a:lnTo>
                  <a:pt x="573210" y="54397"/>
                </a:lnTo>
                <a:lnTo>
                  <a:pt x="587597" y="34799"/>
                </a:lnTo>
                <a:lnTo>
                  <a:pt x="603746" y="16708"/>
                </a:lnTo>
                <a:lnTo>
                  <a:pt x="621537" y="0"/>
                </a:lnTo>
                <a:close/>
              </a:path>
              <a:path w="1283334" h="803275">
                <a:moveTo>
                  <a:pt x="777239" y="611733"/>
                </a:moveTo>
                <a:lnTo>
                  <a:pt x="693674" y="611733"/>
                </a:lnTo>
                <a:lnTo>
                  <a:pt x="664336" y="803147"/>
                </a:lnTo>
                <a:lnTo>
                  <a:pt x="748537" y="803147"/>
                </a:lnTo>
                <a:lnTo>
                  <a:pt x="777239" y="611733"/>
                </a:lnTo>
                <a:close/>
              </a:path>
              <a:path w="1283334" h="803275">
                <a:moveTo>
                  <a:pt x="1044575" y="548144"/>
                </a:moveTo>
                <a:lnTo>
                  <a:pt x="960374" y="548144"/>
                </a:lnTo>
                <a:lnTo>
                  <a:pt x="832103" y="803147"/>
                </a:lnTo>
                <a:lnTo>
                  <a:pt x="916304" y="803147"/>
                </a:lnTo>
                <a:lnTo>
                  <a:pt x="930275" y="773023"/>
                </a:lnTo>
                <a:lnTo>
                  <a:pt x="1091725" y="773023"/>
                </a:lnTo>
                <a:lnTo>
                  <a:pt x="1080499" y="719480"/>
                </a:lnTo>
                <a:lnTo>
                  <a:pt x="951102" y="719480"/>
                </a:lnTo>
                <a:lnTo>
                  <a:pt x="991107" y="626452"/>
                </a:lnTo>
                <a:lnTo>
                  <a:pt x="1060994" y="626452"/>
                </a:lnTo>
                <a:lnTo>
                  <a:pt x="1044575" y="548144"/>
                </a:lnTo>
                <a:close/>
              </a:path>
              <a:path w="1283334" h="803275">
                <a:moveTo>
                  <a:pt x="1091725" y="773023"/>
                </a:moveTo>
                <a:lnTo>
                  <a:pt x="1014476" y="773023"/>
                </a:lnTo>
                <a:lnTo>
                  <a:pt x="1017904" y="803147"/>
                </a:lnTo>
                <a:lnTo>
                  <a:pt x="1098041" y="803147"/>
                </a:lnTo>
                <a:lnTo>
                  <a:pt x="1091725" y="773023"/>
                </a:lnTo>
                <a:close/>
              </a:path>
              <a:path w="1283334" h="803275">
                <a:moveTo>
                  <a:pt x="1060994" y="626452"/>
                </a:moveTo>
                <a:lnTo>
                  <a:pt x="991107" y="626452"/>
                </a:lnTo>
                <a:lnTo>
                  <a:pt x="1005204" y="719480"/>
                </a:lnTo>
                <a:lnTo>
                  <a:pt x="1080499" y="719480"/>
                </a:lnTo>
                <a:lnTo>
                  <a:pt x="1060994" y="626452"/>
                </a:lnTo>
                <a:close/>
              </a:path>
              <a:path w="1283334" h="803275">
                <a:moveTo>
                  <a:pt x="861440" y="546811"/>
                </a:moveTo>
                <a:lnTo>
                  <a:pt x="632205" y="546811"/>
                </a:lnTo>
                <a:lnTo>
                  <a:pt x="619505" y="611733"/>
                </a:lnTo>
                <a:lnTo>
                  <a:pt x="848105" y="611733"/>
                </a:lnTo>
                <a:lnTo>
                  <a:pt x="861440" y="546811"/>
                </a:lnTo>
                <a:close/>
              </a:path>
              <a:path w="1283334" h="803275">
                <a:moveTo>
                  <a:pt x="320166" y="548144"/>
                </a:moveTo>
                <a:lnTo>
                  <a:pt x="234568" y="548144"/>
                </a:lnTo>
                <a:lnTo>
                  <a:pt x="182499" y="803147"/>
                </a:lnTo>
                <a:lnTo>
                  <a:pt x="267969" y="803147"/>
                </a:lnTo>
                <a:lnTo>
                  <a:pt x="320166" y="548144"/>
                </a:lnTo>
                <a:close/>
              </a:path>
              <a:path w="1283334" h="803275">
                <a:moveTo>
                  <a:pt x="533273" y="548144"/>
                </a:moveTo>
                <a:lnTo>
                  <a:pt x="449072" y="548144"/>
                </a:lnTo>
                <a:lnTo>
                  <a:pt x="320166" y="803147"/>
                </a:lnTo>
                <a:lnTo>
                  <a:pt x="405002" y="803147"/>
                </a:lnTo>
                <a:lnTo>
                  <a:pt x="418337" y="773023"/>
                </a:lnTo>
                <a:lnTo>
                  <a:pt x="579863" y="773023"/>
                </a:lnTo>
                <a:lnTo>
                  <a:pt x="568770" y="719480"/>
                </a:lnTo>
                <a:lnTo>
                  <a:pt x="439038" y="719480"/>
                </a:lnTo>
                <a:lnTo>
                  <a:pt x="479171" y="626452"/>
                </a:lnTo>
                <a:lnTo>
                  <a:pt x="549497" y="626452"/>
                </a:lnTo>
                <a:lnTo>
                  <a:pt x="533273" y="548144"/>
                </a:lnTo>
                <a:close/>
              </a:path>
              <a:path w="1283334" h="803275">
                <a:moveTo>
                  <a:pt x="579863" y="773023"/>
                </a:moveTo>
                <a:lnTo>
                  <a:pt x="502538" y="773023"/>
                </a:lnTo>
                <a:lnTo>
                  <a:pt x="507237" y="803147"/>
                </a:lnTo>
                <a:lnTo>
                  <a:pt x="586104" y="803147"/>
                </a:lnTo>
                <a:lnTo>
                  <a:pt x="579863" y="773023"/>
                </a:lnTo>
                <a:close/>
              </a:path>
              <a:path w="1283334" h="803275">
                <a:moveTo>
                  <a:pt x="549497" y="626452"/>
                </a:moveTo>
                <a:lnTo>
                  <a:pt x="479171" y="626452"/>
                </a:lnTo>
                <a:lnTo>
                  <a:pt x="493902" y="719480"/>
                </a:lnTo>
                <a:lnTo>
                  <a:pt x="568770" y="719480"/>
                </a:lnTo>
                <a:lnTo>
                  <a:pt x="549497" y="6264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12193524" cy="68580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376224" y="1371346"/>
            <a:ext cx="4094479" cy="732316"/>
          </a:xfrm>
          <a:prstGeom prst="rect">
            <a:avLst/>
          </a:prstGeom>
        </p:spPr>
        <p:txBody>
          <a:bodyPr vert="horz" wrap="square" lIns="0" tIns="7620" rIns="0" bIns="0" rtlCol="0">
            <a:spAutoFit/>
          </a:bodyPr>
          <a:lstStyle/>
          <a:p>
            <a:pPr marL="12700" marR="5080">
              <a:lnSpc>
                <a:spcPct val="100699"/>
              </a:lnSpc>
              <a:spcBef>
                <a:spcPts val="60"/>
              </a:spcBef>
            </a:pPr>
            <a:r>
              <a:rPr spc="50" dirty="0"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IATA </a:t>
            </a:r>
            <a:r>
              <a:rPr spc="160" dirty="0" err="1"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EasyPay</a:t>
            </a:r>
            <a:endParaRPr spc="195" dirty="0">
              <a:latin typeface="Aktiv Grotesk" panose="020B0504020202020204" pitchFamily="34" charset="0"/>
              <a:ea typeface="Aktiv Grotesk" panose="020B0504020202020204" pitchFamily="34" charset="0"/>
              <a:cs typeface="Aktiv Grotesk" panose="020B0504020202020204" pitchFamily="34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5949696" y="4880609"/>
            <a:ext cx="4500880" cy="750570"/>
          </a:xfrm>
          <a:custGeom>
            <a:avLst/>
            <a:gdLst/>
            <a:ahLst/>
            <a:cxnLst/>
            <a:rect l="l" t="t" r="r" b="b"/>
            <a:pathLst>
              <a:path w="4500880" h="750570">
                <a:moveTo>
                  <a:pt x="0" y="750570"/>
                </a:moveTo>
                <a:lnTo>
                  <a:pt x="4500372" y="750570"/>
                </a:lnTo>
                <a:lnTo>
                  <a:pt x="4500372" y="0"/>
                </a:lnTo>
                <a:lnTo>
                  <a:pt x="0" y="0"/>
                </a:lnTo>
                <a:lnTo>
                  <a:pt x="0" y="75057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5949696" y="1875789"/>
            <a:ext cx="749935" cy="3004820"/>
          </a:xfrm>
          <a:custGeom>
            <a:avLst/>
            <a:gdLst/>
            <a:ahLst/>
            <a:cxnLst/>
            <a:rect l="l" t="t" r="r" b="b"/>
            <a:pathLst>
              <a:path w="749934" h="3004820">
                <a:moveTo>
                  <a:pt x="0" y="3004820"/>
                </a:moveTo>
                <a:lnTo>
                  <a:pt x="749553" y="3004820"/>
                </a:lnTo>
                <a:lnTo>
                  <a:pt x="749553" y="0"/>
                </a:lnTo>
                <a:lnTo>
                  <a:pt x="0" y="0"/>
                </a:lnTo>
                <a:lnTo>
                  <a:pt x="0" y="30048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949696" y="1125219"/>
            <a:ext cx="4500880" cy="750570"/>
          </a:xfrm>
          <a:custGeom>
            <a:avLst/>
            <a:gdLst/>
            <a:ahLst/>
            <a:cxnLst/>
            <a:rect l="l" t="t" r="r" b="b"/>
            <a:pathLst>
              <a:path w="4500880" h="750569">
                <a:moveTo>
                  <a:pt x="0" y="750570"/>
                </a:moveTo>
                <a:lnTo>
                  <a:pt x="4500372" y="750570"/>
                </a:lnTo>
                <a:lnTo>
                  <a:pt x="4500372" y="0"/>
                </a:lnTo>
                <a:lnTo>
                  <a:pt x="0" y="0"/>
                </a:lnTo>
                <a:lnTo>
                  <a:pt x="0" y="75057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9700514" y="1875789"/>
            <a:ext cx="749935" cy="3004820"/>
          </a:xfrm>
          <a:custGeom>
            <a:avLst/>
            <a:gdLst/>
            <a:ahLst/>
            <a:cxnLst/>
            <a:rect l="l" t="t" r="r" b="b"/>
            <a:pathLst>
              <a:path w="749934" h="3004820">
                <a:moveTo>
                  <a:pt x="749553" y="0"/>
                </a:moveTo>
                <a:lnTo>
                  <a:pt x="0" y="0"/>
                </a:lnTo>
                <a:lnTo>
                  <a:pt x="0" y="3004312"/>
                </a:lnTo>
                <a:lnTo>
                  <a:pt x="749553" y="3004312"/>
                </a:lnTo>
                <a:lnTo>
                  <a:pt x="74955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0527792" y="5678423"/>
            <a:ext cx="1283335" cy="803275"/>
          </a:xfrm>
          <a:custGeom>
            <a:avLst/>
            <a:gdLst/>
            <a:ahLst/>
            <a:cxnLst/>
            <a:rect l="l" t="t" r="r" b="b"/>
            <a:pathLst>
              <a:path w="1283334" h="803275">
                <a:moveTo>
                  <a:pt x="1283207" y="259689"/>
                </a:moveTo>
                <a:lnTo>
                  <a:pt x="882141" y="259689"/>
                </a:lnTo>
                <a:lnTo>
                  <a:pt x="868923" y="301159"/>
                </a:lnTo>
                <a:lnTo>
                  <a:pt x="846348" y="339452"/>
                </a:lnTo>
                <a:lnTo>
                  <a:pt x="813713" y="374299"/>
                </a:lnTo>
                <a:lnTo>
                  <a:pt x="770442" y="405342"/>
                </a:lnTo>
                <a:lnTo>
                  <a:pt x="715772" y="432358"/>
                </a:lnTo>
                <a:lnTo>
                  <a:pt x="729168" y="457009"/>
                </a:lnTo>
                <a:lnTo>
                  <a:pt x="750554" y="477958"/>
                </a:lnTo>
                <a:lnTo>
                  <a:pt x="777440" y="492505"/>
                </a:lnTo>
                <a:lnTo>
                  <a:pt x="807338" y="497954"/>
                </a:lnTo>
                <a:lnTo>
                  <a:pt x="1024508" y="497954"/>
                </a:lnTo>
                <a:lnTo>
                  <a:pt x="1048127" y="493331"/>
                </a:lnTo>
                <a:lnTo>
                  <a:pt x="1068196" y="481555"/>
                </a:lnTo>
                <a:lnTo>
                  <a:pt x="1083980" y="465764"/>
                </a:lnTo>
                <a:lnTo>
                  <a:pt x="1094739" y="449097"/>
                </a:lnTo>
                <a:lnTo>
                  <a:pt x="873505" y="449097"/>
                </a:lnTo>
                <a:lnTo>
                  <a:pt x="865905" y="446241"/>
                </a:lnTo>
                <a:lnTo>
                  <a:pt x="863187" y="441815"/>
                </a:lnTo>
                <a:lnTo>
                  <a:pt x="865469" y="437515"/>
                </a:lnTo>
                <a:lnTo>
                  <a:pt x="872871" y="435038"/>
                </a:lnTo>
                <a:lnTo>
                  <a:pt x="1090040" y="435038"/>
                </a:lnTo>
                <a:lnTo>
                  <a:pt x="1110466" y="430980"/>
                </a:lnTo>
                <a:lnTo>
                  <a:pt x="1129141" y="420144"/>
                </a:lnTo>
                <a:lnTo>
                  <a:pt x="1145315" y="404541"/>
                </a:lnTo>
                <a:lnTo>
                  <a:pt x="1158239" y="386181"/>
                </a:lnTo>
                <a:lnTo>
                  <a:pt x="905636" y="386181"/>
                </a:lnTo>
                <a:lnTo>
                  <a:pt x="898493" y="383327"/>
                </a:lnTo>
                <a:lnTo>
                  <a:pt x="896111" y="378904"/>
                </a:lnTo>
                <a:lnTo>
                  <a:pt x="898493" y="374605"/>
                </a:lnTo>
                <a:lnTo>
                  <a:pt x="905636" y="372122"/>
                </a:lnTo>
                <a:lnTo>
                  <a:pt x="1160272" y="372122"/>
                </a:lnTo>
                <a:lnTo>
                  <a:pt x="1178764" y="367217"/>
                </a:lnTo>
                <a:lnTo>
                  <a:pt x="1195435" y="354971"/>
                </a:lnTo>
                <a:lnTo>
                  <a:pt x="1209224" y="339086"/>
                </a:lnTo>
                <a:lnTo>
                  <a:pt x="1219073" y="323265"/>
                </a:lnTo>
                <a:lnTo>
                  <a:pt x="939037" y="323265"/>
                </a:lnTo>
                <a:lnTo>
                  <a:pt x="931108" y="320108"/>
                </a:lnTo>
                <a:lnTo>
                  <a:pt x="928465" y="315069"/>
                </a:lnTo>
                <a:lnTo>
                  <a:pt x="931108" y="310280"/>
                </a:lnTo>
                <a:lnTo>
                  <a:pt x="939037" y="307873"/>
                </a:lnTo>
                <a:lnTo>
                  <a:pt x="1223772" y="307873"/>
                </a:lnTo>
                <a:lnTo>
                  <a:pt x="1240488" y="303825"/>
                </a:lnTo>
                <a:lnTo>
                  <a:pt x="1256252" y="293063"/>
                </a:lnTo>
                <a:lnTo>
                  <a:pt x="1270634" y="277660"/>
                </a:lnTo>
                <a:lnTo>
                  <a:pt x="1283207" y="259689"/>
                </a:lnTo>
                <a:close/>
              </a:path>
              <a:path w="1283334" h="803275">
                <a:moveTo>
                  <a:pt x="722502" y="314566"/>
                </a:moveTo>
                <a:lnTo>
                  <a:pt x="709765" y="335313"/>
                </a:lnTo>
                <a:lnTo>
                  <a:pt x="695563" y="354553"/>
                </a:lnTo>
                <a:lnTo>
                  <a:pt x="679622" y="372539"/>
                </a:lnTo>
                <a:lnTo>
                  <a:pt x="661669" y="389521"/>
                </a:lnTo>
                <a:lnTo>
                  <a:pt x="691582" y="383731"/>
                </a:lnTo>
                <a:lnTo>
                  <a:pt x="720040" y="374276"/>
                </a:lnTo>
                <a:lnTo>
                  <a:pt x="746644" y="361102"/>
                </a:lnTo>
                <a:lnTo>
                  <a:pt x="771271" y="344017"/>
                </a:lnTo>
                <a:lnTo>
                  <a:pt x="760150" y="335272"/>
                </a:lnTo>
                <a:lnTo>
                  <a:pt x="748125" y="327282"/>
                </a:lnTo>
                <a:lnTo>
                  <a:pt x="735480" y="320296"/>
                </a:lnTo>
                <a:lnTo>
                  <a:pt x="722502" y="314566"/>
                </a:lnTo>
                <a:close/>
              </a:path>
              <a:path w="1283334" h="803275">
                <a:moveTo>
                  <a:pt x="648969" y="298500"/>
                </a:moveTo>
                <a:lnTo>
                  <a:pt x="648969" y="382168"/>
                </a:lnTo>
                <a:lnTo>
                  <a:pt x="666418" y="366425"/>
                </a:lnTo>
                <a:lnTo>
                  <a:pt x="682450" y="348614"/>
                </a:lnTo>
                <a:lnTo>
                  <a:pt x="696600" y="329176"/>
                </a:lnTo>
                <a:lnTo>
                  <a:pt x="708405" y="308546"/>
                </a:lnTo>
                <a:lnTo>
                  <a:pt x="694064" y="304431"/>
                </a:lnTo>
                <a:lnTo>
                  <a:pt x="679211" y="301261"/>
                </a:lnTo>
                <a:lnTo>
                  <a:pt x="664096" y="299222"/>
                </a:lnTo>
                <a:lnTo>
                  <a:pt x="648969" y="298500"/>
                </a:lnTo>
                <a:close/>
              </a:path>
              <a:path w="1283334" h="803275">
                <a:moveTo>
                  <a:pt x="842136" y="201460"/>
                </a:moveTo>
                <a:lnTo>
                  <a:pt x="753236" y="201460"/>
                </a:lnTo>
                <a:lnTo>
                  <a:pt x="751050" y="227871"/>
                </a:lnTo>
                <a:lnTo>
                  <a:pt x="746505" y="253157"/>
                </a:lnTo>
                <a:lnTo>
                  <a:pt x="739485" y="277692"/>
                </a:lnTo>
                <a:lnTo>
                  <a:pt x="729868" y="301853"/>
                </a:lnTo>
                <a:lnTo>
                  <a:pt x="743640" y="308764"/>
                </a:lnTo>
                <a:lnTo>
                  <a:pt x="756983" y="316491"/>
                </a:lnTo>
                <a:lnTo>
                  <a:pt x="769945" y="325097"/>
                </a:lnTo>
                <a:lnTo>
                  <a:pt x="782574" y="334644"/>
                </a:lnTo>
                <a:lnTo>
                  <a:pt x="806864" y="305833"/>
                </a:lnTo>
                <a:lnTo>
                  <a:pt x="825166" y="273319"/>
                </a:lnTo>
                <a:lnTo>
                  <a:pt x="837062" y="238172"/>
                </a:lnTo>
                <a:lnTo>
                  <a:pt x="842136" y="201460"/>
                </a:lnTo>
                <a:close/>
              </a:path>
              <a:path w="1283334" h="803275">
                <a:moveTo>
                  <a:pt x="737869" y="201460"/>
                </a:moveTo>
                <a:lnTo>
                  <a:pt x="648969" y="201460"/>
                </a:lnTo>
                <a:lnTo>
                  <a:pt x="648969" y="283781"/>
                </a:lnTo>
                <a:lnTo>
                  <a:pt x="665819" y="284732"/>
                </a:lnTo>
                <a:lnTo>
                  <a:pt x="682894" y="287375"/>
                </a:lnTo>
                <a:lnTo>
                  <a:pt x="699708" y="291400"/>
                </a:lnTo>
                <a:lnTo>
                  <a:pt x="715772" y="296494"/>
                </a:lnTo>
                <a:lnTo>
                  <a:pt x="725171" y="273553"/>
                </a:lnTo>
                <a:lnTo>
                  <a:pt x="732107" y="249982"/>
                </a:lnTo>
                <a:lnTo>
                  <a:pt x="736399" y="225908"/>
                </a:lnTo>
                <a:lnTo>
                  <a:pt x="737869" y="201460"/>
                </a:lnTo>
                <a:close/>
              </a:path>
              <a:path w="1283334" h="803275">
                <a:moveTo>
                  <a:pt x="400938" y="259689"/>
                </a:moveTo>
                <a:lnTo>
                  <a:pt x="0" y="259689"/>
                </a:lnTo>
                <a:lnTo>
                  <a:pt x="12572" y="277660"/>
                </a:lnTo>
                <a:lnTo>
                  <a:pt x="26955" y="293063"/>
                </a:lnTo>
                <a:lnTo>
                  <a:pt x="42719" y="303825"/>
                </a:lnTo>
                <a:lnTo>
                  <a:pt x="59435" y="307873"/>
                </a:lnTo>
                <a:lnTo>
                  <a:pt x="344169" y="307873"/>
                </a:lnTo>
                <a:lnTo>
                  <a:pt x="352099" y="310280"/>
                </a:lnTo>
                <a:lnTo>
                  <a:pt x="354742" y="315069"/>
                </a:lnTo>
                <a:lnTo>
                  <a:pt x="352099" y="320108"/>
                </a:lnTo>
                <a:lnTo>
                  <a:pt x="344169" y="323265"/>
                </a:lnTo>
                <a:lnTo>
                  <a:pt x="64134" y="323265"/>
                </a:lnTo>
                <a:lnTo>
                  <a:pt x="73983" y="339086"/>
                </a:lnTo>
                <a:lnTo>
                  <a:pt x="87772" y="354971"/>
                </a:lnTo>
                <a:lnTo>
                  <a:pt x="104443" y="367217"/>
                </a:lnTo>
                <a:lnTo>
                  <a:pt x="122935" y="372122"/>
                </a:lnTo>
                <a:lnTo>
                  <a:pt x="377571" y="372122"/>
                </a:lnTo>
                <a:lnTo>
                  <a:pt x="384714" y="374605"/>
                </a:lnTo>
                <a:lnTo>
                  <a:pt x="387096" y="378904"/>
                </a:lnTo>
                <a:lnTo>
                  <a:pt x="384714" y="383327"/>
                </a:lnTo>
                <a:lnTo>
                  <a:pt x="377571" y="386181"/>
                </a:lnTo>
                <a:lnTo>
                  <a:pt x="124967" y="386181"/>
                </a:lnTo>
                <a:lnTo>
                  <a:pt x="137892" y="404541"/>
                </a:lnTo>
                <a:lnTo>
                  <a:pt x="154066" y="420144"/>
                </a:lnTo>
                <a:lnTo>
                  <a:pt x="172741" y="430980"/>
                </a:lnTo>
                <a:lnTo>
                  <a:pt x="193166" y="435038"/>
                </a:lnTo>
                <a:lnTo>
                  <a:pt x="410336" y="435038"/>
                </a:lnTo>
                <a:lnTo>
                  <a:pt x="417738" y="437515"/>
                </a:lnTo>
                <a:lnTo>
                  <a:pt x="420020" y="441815"/>
                </a:lnTo>
                <a:lnTo>
                  <a:pt x="417302" y="446241"/>
                </a:lnTo>
                <a:lnTo>
                  <a:pt x="409701" y="449097"/>
                </a:lnTo>
                <a:lnTo>
                  <a:pt x="188467" y="449097"/>
                </a:lnTo>
                <a:lnTo>
                  <a:pt x="199227" y="465764"/>
                </a:lnTo>
                <a:lnTo>
                  <a:pt x="215011" y="481555"/>
                </a:lnTo>
                <a:lnTo>
                  <a:pt x="235080" y="493331"/>
                </a:lnTo>
                <a:lnTo>
                  <a:pt x="258699" y="497954"/>
                </a:lnTo>
                <a:lnTo>
                  <a:pt x="475868" y="497954"/>
                </a:lnTo>
                <a:lnTo>
                  <a:pt x="505767" y="492505"/>
                </a:lnTo>
                <a:lnTo>
                  <a:pt x="532653" y="477958"/>
                </a:lnTo>
                <a:lnTo>
                  <a:pt x="554039" y="457009"/>
                </a:lnTo>
                <a:lnTo>
                  <a:pt x="567435" y="432358"/>
                </a:lnTo>
                <a:lnTo>
                  <a:pt x="512764" y="405342"/>
                </a:lnTo>
                <a:lnTo>
                  <a:pt x="469454" y="374276"/>
                </a:lnTo>
                <a:lnTo>
                  <a:pt x="436832" y="339452"/>
                </a:lnTo>
                <a:lnTo>
                  <a:pt x="414219" y="301159"/>
                </a:lnTo>
                <a:lnTo>
                  <a:pt x="400938" y="259689"/>
                </a:lnTo>
                <a:close/>
              </a:path>
              <a:path w="1283334" h="803275">
                <a:moveTo>
                  <a:pt x="560704" y="314566"/>
                </a:moveTo>
                <a:lnTo>
                  <a:pt x="547804" y="320108"/>
                </a:lnTo>
                <a:lnTo>
                  <a:pt x="535241" y="327282"/>
                </a:lnTo>
                <a:lnTo>
                  <a:pt x="523057" y="335461"/>
                </a:lnTo>
                <a:lnTo>
                  <a:pt x="511301" y="344017"/>
                </a:lnTo>
                <a:lnTo>
                  <a:pt x="536027" y="361102"/>
                </a:lnTo>
                <a:lnTo>
                  <a:pt x="562895" y="374299"/>
                </a:lnTo>
                <a:lnTo>
                  <a:pt x="591526" y="383731"/>
                </a:lnTo>
                <a:lnTo>
                  <a:pt x="621537" y="389521"/>
                </a:lnTo>
                <a:lnTo>
                  <a:pt x="603585" y="372539"/>
                </a:lnTo>
                <a:lnTo>
                  <a:pt x="587644" y="354553"/>
                </a:lnTo>
                <a:lnTo>
                  <a:pt x="573442" y="335313"/>
                </a:lnTo>
                <a:lnTo>
                  <a:pt x="560704" y="314566"/>
                </a:lnTo>
                <a:close/>
              </a:path>
              <a:path w="1283334" h="803275">
                <a:moveTo>
                  <a:pt x="634873" y="298500"/>
                </a:moveTo>
                <a:lnTo>
                  <a:pt x="619378" y="299129"/>
                </a:lnTo>
                <a:lnTo>
                  <a:pt x="604075" y="301013"/>
                </a:lnTo>
                <a:lnTo>
                  <a:pt x="589152" y="304153"/>
                </a:lnTo>
                <a:lnTo>
                  <a:pt x="574801" y="308546"/>
                </a:lnTo>
                <a:lnTo>
                  <a:pt x="586616" y="329155"/>
                </a:lnTo>
                <a:lnTo>
                  <a:pt x="600837" y="348446"/>
                </a:lnTo>
                <a:lnTo>
                  <a:pt x="617057" y="365857"/>
                </a:lnTo>
                <a:lnTo>
                  <a:pt x="634873" y="380822"/>
                </a:lnTo>
                <a:lnTo>
                  <a:pt x="634873" y="298500"/>
                </a:lnTo>
                <a:close/>
              </a:path>
              <a:path w="1283334" h="803275">
                <a:moveTo>
                  <a:pt x="529971" y="201460"/>
                </a:moveTo>
                <a:lnTo>
                  <a:pt x="441071" y="201460"/>
                </a:lnTo>
                <a:lnTo>
                  <a:pt x="446412" y="238740"/>
                </a:lnTo>
                <a:lnTo>
                  <a:pt x="458283" y="273831"/>
                </a:lnTo>
                <a:lnTo>
                  <a:pt x="476432" y="306023"/>
                </a:lnTo>
                <a:lnTo>
                  <a:pt x="500633" y="334644"/>
                </a:lnTo>
                <a:lnTo>
                  <a:pt x="513274" y="325097"/>
                </a:lnTo>
                <a:lnTo>
                  <a:pt x="526319" y="316491"/>
                </a:lnTo>
                <a:lnTo>
                  <a:pt x="539888" y="308764"/>
                </a:lnTo>
                <a:lnTo>
                  <a:pt x="554101" y="301853"/>
                </a:lnTo>
                <a:lnTo>
                  <a:pt x="544669" y="277408"/>
                </a:lnTo>
                <a:lnTo>
                  <a:pt x="537511" y="252904"/>
                </a:lnTo>
                <a:lnTo>
                  <a:pt x="532616" y="227776"/>
                </a:lnTo>
                <a:lnTo>
                  <a:pt x="529971" y="201460"/>
                </a:lnTo>
                <a:close/>
              </a:path>
              <a:path w="1283334" h="803275">
                <a:moveTo>
                  <a:pt x="634873" y="201460"/>
                </a:moveTo>
                <a:lnTo>
                  <a:pt x="545337" y="201460"/>
                </a:lnTo>
                <a:lnTo>
                  <a:pt x="547076" y="226001"/>
                </a:lnTo>
                <a:lnTo>
                  <a:pt x="551338" y="250229"/>
                </a:lnTo>
                <a:lnTo>
                  <a:pt x="558125" y="273831"/>
                </a:lnTo>
                <a:lnTo>
                  <a:pt x="567435" y="296494"/>
                </a:lnTo>
                <a:lnTo>
                  <a:pt x="583688" y="291400"/>
                </a:lnTo>
                <a:lnTo>
                  <a:pt x="600392" y="287375"/>
                </a:lnTo>
                <a:lnTo>
                  <a:pt x="617477" y="284732"/>
                </a:lnTo>
                <a:lnTo>
                  <a:pt x="634873" y="283781"/>
                </a:lnTo>
                <a:lnTo>
                  <a:pt x="634873" y="201460"/>
                </a:lnTo>
                <a:close/>
              </a:path>
              <a:path w="1283334" h="803275">
                <a:moveTo>
                  <a:pt x="715772" y="93027"/>
                </a:moveTo>
                <a:lnTo>
                  <a:pt x="699529" y="98028"/>
                </a:lnTo>
                <a:lnTo>
                  <a:pt x="682894" y="101900"/>
                </a:lnTo>
                <a:lnTo>
                  <a:pt x="665997" y="104516"/>
                </a:lnTo>
                <a:lnTo>
                  <a:pt x="648969" y="105752"/>
                </a:lnTo>
                <a:lnTo>
                  <a:pt x="648969" y="187401"/>
                </a:lnTo>
                <a:lnTo>
                  <a:pt x="737869" y="187401"/>
                </a:lnTo>
                <a:lnTo>
                  <a:pt x="736399" y="163057"/>
                </a:lnTo>
                <a:lnTo>
                  <a:pt x="732107" y="139214"/>
                </a:lnTo>
                <a:lnTo>
                  <a:pt x="725171" y="115870"/>
                </a:lnTo>
                <a:lnTo>
                  <a:pt x="715772" y="93027"/>
                </a:lnTo>
                <a:close/>
              </a:path>
              <a:path w="1283334" h="803275">
                <a:moveTo>
                  <a:pt x="782574" y="54876"/>
                </a:moveTo>
                <a:lnTo>
                  <a:pt x="770213" y="64426"/>
                </a:lnTo>
                <a:lnTo>
                  <a:pt x="757221" y="73036"/>
                </a:lnTo>
                <a:lnTo>
                  <a:pt x="743729" y="80767"/>
                </a:lnTo>
                <a:lnTo>
                  <a:pt x="729868" y="87680"/>
                </a:lnTo>
                <a:lnTo>
                  <a:pt x="739217" y="111545"/>
                </a:lnTo>
                <a:lnTo>
                  <a:pt x="746267" y="136036"/>
                </a:lnTo>
                <a:lnTo>
                  <a:pt x="750960" y="161279"/>
                </a:lnTo>
                <a:lnTo>
                  <a:pt x="753236" y="187401"/>
                </a:lnTo>
                <a:lnTo>
                  <a:pt x="842136" y="187401"/>
                </a:lnTo>
                <a:lnTo>
                  <a:pt x="837330" y="151354"/>
                </a:lnTo>
                <a:lnTo>
                  <a:pt x="825880" y="116876"/>
                </a:lnTo>
                <a:lnTo>
                  <a:pt x="807668" y="84529"/>
                </a:lnTo>
                <a:lnTo>
                  <a:pt x="782574" y="54876"/>
                </a:lnTo>
                <a:close/>
              </a:path>
              <a:path w="1283334" h="803275">
                <a:moveTo>
                  <a:pt x="648969" y="8026"/>
                </a:moveTo>
                <a:lnTo>
                  <a:pt x="648969" y="91693"/>
                </a:lnTo>
                <a:lnTo>
                  <a:pt x="664096" y="90857"/>
                </a:lnTo>
                <a:lnTo>
                  <a:pt x="679211" y="88514"/>
                </a:lnTo>
                <a:lnTo>
                  <a:pt x="694064" y="84916"/>
                </a:lnTo>
                <a:lnTo>
                  <a:pt x="708405" y="80314"/>
                </a:lnTo>
                <a:lnTo>
                  <a:pt x="696600" y="60172"/>
                </a:lnTo>
                <a:lnTo>
                  <a:pt x="682450" y="41160"/>
                </a:lnTo>
                <a:lnTo>
                  <a:pt x="666418" y="23654"/>
                </a:lnTo>
                <a:lnTo>
                  <a:pt x="648969" y="8026"/>
                </a:lnTo>
                <a:close/>
              </a:path>
              <a:path w="1283334" h="803275">
                <a:moveTo>
                  <a:pt x="661669" y="0"/>
                </a:moveTo>
                <a:lnTo>
                  <a:pt x="679622" y="16899"/>
                </a:lnTo>
                <a:lnTo>
                  <a:pt x="695563" y="34804"/>
                </a:lnTo>
                <a:lnTo>
                  <a:pt x="709765" y="54213"/>
                </a:lnTo>
                <a:lnTo>
                  <a:pt x="722502" y="75628"/>
                </a:lnTo>
                <a:lnTo>
                  <a:pt x="735480" y="69782"/>
                </a:lnTo>
                <a:lnTo>
                  <a:pt x="748125" y="62493"/>
                </a:lnTo>
                <a:lnTo>
                  <a:pt x="760150" y="54075"/>
                </a:lnTo>
                <a:lnTo>
                  <a:pt x="771271" y="44843"/>
                </a:lnTo>
                <a:lnTo>
                  <a:pt x="746644" y="28048"/>
                </a:lnTo>
                <a:lnTo>
                  <a:pt x="719994" y="14892"/>
                </a:lnTo>
                <a:lnTo>
                  <a:pt x="691582" y="5501"/>
                </a:lnTo>
                <a:lnTo>
                  <a:pt x="661669" y="0"/>
                </a:lnTo>
                <a:close/>
              </a:path>
              <a:path w="1283334" h="803275">
                <a:moveTo>
                  <a:pt x="500633" y="54876"/>
                </a:moveTo>
                <a:lnTo>
                  <a:pt x="476164" y="83772"/>
                </a:lnTo>
                <a:lnTo>
                  <a:pt x="458041" y="115866"/>
                </a:lnTo>
                <a:lnTo>
                  <a:pt x="446323" y="150597"/>
                </a:lnTo>
                <a:lnTo>
                  <a:pt x="441071" y="187401"/>
                </a:lnTo>
                <a:lnTo>
                  <a:pt x="529971" y="187401"/>
                </a:lnTo>
                <a:lnTo>
                  <a:pt x="532616" y="161372"/>
                </a:lnTo>
                <a:lnTo>
                  <a:pt x="537511" y="136283"/>
                </a:lnTo>
                <a:lnTo>
                  <a:pt x="544669" y="111823"/>
                </a:lnTo>
                <a:lnTo>
                  <a:pt x="554101" y="87680"/>
                </a:lnTo>
                <a:lnTo>
                  <a:pt x="539888" y="80862"/>
                </a:lnTo>
                <a:lnTo>
                  <a:pt x="526319" y="73288"/>
                </a:lnTo>
                <a:lnTo>
                  <a:pt x="513274" y="64710"/>
                </a:lnTo>
                <a:lnTo>
                  <a:pt x="500633" y="54876"/>
                </a:lnTo>
                <a:close/>
              </a:path>
              <a:path w="1283334" h="803275">
                <a:moveTo>
                  <a:pt x="567435" y="93027"/>
                </a:moveTo>
                <a:lnTo>
                  <a:pt x="558125" y="115679"/>
                </a:lnTo>
                <a:lnTo>
                  <a:pt x="551338" y="139209"/>
                </a:lnTo>
                <a:lnTo>
                  <a:pt x="547076" y="163241"/>
                </a:lnTo>
                <a:lnTo>
                  <a:pt x="545337" y="187401"/>
                </a:lnTo>
                <a:lnTo>
                  <a:pt x="634873" y="187401"/>
                </a:lnTo>
                <a:lnTo>
                  <a:pt x="634873" y="105752"/>
                </a:lnTo>
                <a:lnTo>
                  <a:pt x="617477" y="104516"/>
                </a:lnTo>
                <a:lnTo>
                  <a:pt x="600392" y="101900"/>
                </a:lnTo>
                <a:lnTo>
                  <a:pt x="583688" y="98028"/>
                </a:lnTo>
                <a:lnTo>
                  <a:pt x="567435" y="93027"/>
                </a:lnTo>
                <a:close/>
              </a:path>
              <a:path w="1283334" h="803275">
                <a:moveTo>
                  <a:pt x="634873" y="8026"/>
                </a:moveTo>
                <a:lnTo>
                  <a:pt x="617057" y="23748"/>
                </a:lnTo>
                <a:lnTo>
                  <a:pt x="600837" y="41413"/>
                </a:lnTo>
                <a:lnTo>
                  <a:pt x="586616" y="60456"/>
                </a:lnTo>
                <a:lnTo>
                  <a:pt x="574801" y="80314"/>
                </a:lnTo>
                <a:lnTo>
                  <a:pt x="589152" y="84632"/>
                </a:lnTo>
                <a:lnTo>
                  <a:pt x="604075" y="88261"/>
                </a:lnTo>
                <a:lnTo>
                  <a:pt x="619378" y="90762"/>
                </a:lnTo>
                <a:lnTo>
                  <a:pt x="634873" y="91693"/>
                </a:lnTo>
                <a:lnTo>
                  <a:pt x="634873" y="8026"/>
                </a:lnTo>
                <a:close/>
              </a:path>
              <a:path w="1283334" h="803275">
                <a:moveTo>
                  <a:pt x="621537" y="0"/>
                </a:moveTo>
                <a:lnTo>
                  <a:pt x="591615" y="5501"/>
                </a:lnTo>
                <a:lnTo>
                  <a:pt x="563133" y="14892"/>
                </a:lnTo>
                <a:lnTo>
                  <a:pt x="536295" y="28048"/>
                </a:lnTo>
                <a:lnTo>
                  <a:pt x="511301" y="44843"/>
                </a:lnTo>
                <a:lnTo>
                  <a:pt x="522968" y="54075"/>
                </a:lnTo>
                <a:lnTo>
                  <a:pt x="535003" y="62493"/>
                </a:lnTo>
                <a:lnTo>
                  <a:pt x="547538" y="69782"/>
                </a:lnTo>
                <a:lnTo>
                  <a:pt x="560704" y="75628"/>
                </a:lnTo>
                <a:lnTo>
                  <a:pt x="573210" y="54397"/>
                </a:lnTo>
                <a:lnTo>
                  <a:pt x="587597" y="34799"/>
                </a:lnTo>
                <a:lnTo>
                  <a:pt x="603746" y="16708"/>
                </a:lnTo>
                <a:lnTo>
                  <a:pt x="621537" y="0"/>
                </a:lnTo>
                <a:close/>
              </a:path>
              <a:path w="1283334" h="803275">
                <a:moveTo>
                  <a:pt x="777239" y="611733"/>
                </a:moveTo>
                <a:lnTo>
                  <a:pt x="693674" y="611733"/>
                </a:lnTo>
                <a:lnTo>
                  <a:pt x="664336" y="803147"/>
                </a:lnTo>
                <a:lnTo>
                  <a:pt x="748537" y="803147"/>
                </a:lnTo>
                <a:lnTo>
                  <a:pt x="777239" y="611733"/>
                </a:lnTo>
                <a:close/>
              </a:path>
              <a:path w="1283334" h="803275">
                <a:moveTo>
                  <a:pt x="1044575" y="548144"/>
                </a:moveTo>
                <a:lnTo>
                  <a:pt x="960374" y="548144"/>
                </a:lnTo>
                <a:lnTo>
                  <a:pt x="832103" y="803147"/>
                </a:lnTo>
                <a:lnTo>
                  <a:pt x="916304" y="803147"/>
                </a:lnTo>
                <a:lnTo>
                  <a:pt x="930275" y="773023"/>
                </a:lnTo>
                <a:lnTo>
                  <a:pt x="1091725" y="773023"/>
                </a:lnTo>
                <a:lnTo>
                  <a:pt x="1080499" y="719480"/>
                </a:lnTo>
                <a:lnTo>
                  <a:pt x="951102" y="719480"/>
                </a:lnTo>
                <a:lnTo>
                  <a:pt x="991107" y="626452"/>
                </a:lnTo>
                <a:lnTo>
                  <a:pt x="1060994" y="626452"/>
                </a:lnTo>
                <a:lnTo>
                  <a:pt x="1044575" y="548144"/>
                </a:lnTo>
                <a:close/>
              </a:path>
              <a:path w="1283334" h="803275">
                <a:moveTo>
                  <a:pt x="1091725" y="773023"/>
                </a:moveTo>
                <a:lnTo>
                  <a:pt x="1014476" y="773023"/>
                </a:lnTo>
                <a:lnTo>
                  <a:pt x="1017904" y="803147"/>
                </a:lnTo>
                <a:lnTo>
                  <a:pt x="1098041" y="803147"/>
                </a:lnTo>
                <a:lnTo>
                  <a:pt x="1091725" y="773023"/>
                </a:lnTo>
                <a:close/>
              </a:path>
              <a:path w="1283334" h="803275">
                <a:moveTo>
                  <a:pt x="1060994" y="626452"/>
                </a:moveTo>
                <a:lnTo>
                  <a:pt x="991107" y="626452"/>
                </a:lnTo>
                <a:lnTo>
                  <a:pt x="1005204" y="719480"/>
                </a:lnTo>
                <a:lnTo>
                  <a:pt x="1080499" y="719480"/>
                </a:lnTo>
                <a:lnTo>
                  <a:pt x="1060994" y="626452"/>
                </a:lnTo>
                <a:close/>
              </a:path>
              <a:path w="1283334" h="803275">
                <a:moveTo>
                  <a:pt x="861440" y="546811"/>
                </a:moveTo>
                <a:lnTo>
                  <a:pt x="632205" y="546811"/>
                </a:lnTo>
                <a:lnTo>
                  <a:pt x="619505" y="611733"/>
                </a:lnTo>
                <a:lnTo>
                  <a:pt x="848105" y="611733"/>
                </a:lnTo>
                <a:lnTo>
                  <a:pt x="861440" y="546811"/>
                </a:lnTo>
                <a:close/>
              </a:path>
              <a:path w="1283334" h="803275">
                <a:moveTo>
                  <a:pt x="320166" y="548144"/>
                </a:moveTo>
                <a:lnTo>
                  <a:pt x="234568" y="548144"/>
                </a:lnTo>
                <a:lnTo>
                  <a:pt x="182499" y="803147"/>
                </a:lnTo>
                <a:lnTo>
                  <a:pt x="267969" y="803147"/>
                </a:lnTo>
                <a:lnTo>
                  <a:pt x="320166" y="548144"/>
                </a:lnTo>
                <a:close/>
              </a:path>
              <a:path w="1283334" h="803275">
                <a:moveTo>
                  <a:pt x="533273" y="548144"/>
                </a:moveTo>
                <a:lnTo>
                  <a:pt x="449072" y="548144"/>
                </a:lnTo>
                <a:lnTo>
                  <a:pt x="320166" y="803147"/>
                </a:lnTo>
                <a:lnTo>
                  <a:pt x="405002" y="803147"/>
                </a:lnTo>
                <a:lnTo>
                  <a:pt x="418337" y="773023"/>
                </a:lnTo>
                <a:lnTo>
                  <a:pt x="579863" y="773023"/>
                </a:lnTo>
                <a:lnTo>
                  <a:pt x="568770" y="719480"/>
                </a:lnTo>
                <a:lnTo>
                  <a:pt x="439038" y="719480"/>
                </a:lnTo>
                <a:lnTo>
                  <a:pt x="479171" y="626452"/>
                </a:lnTo>
                <a:lnTo>
                  <a:pt x="549497" y="626452"/>
                </a:lnTo>
                <a:lnTo>
                  <a:pt x="533273" y="548144"/>
                </a:lnTo>
                <a:close/>
              </a:path>
              <a:path w="1283334" h="803275">
                <a:moveTo>
                  <a:pt x="579863" y="773023"/>
                </a:moveTo>
                <a:lnTo>
                  <a:pt x="502538" y="773023"/>
                </a:lnTo>
                <a:lnTo>
                  <a:pt x="507237" y="803147"/>
                </a:lnTo>
                <a:lnTo>
                  <a:pt x="586104" y="803147"/>
                </a:lnTo>
                <a:lnTo>
                  <a:pt x="579863" y="773023"/>
                </a:lnTo>
                <a:close/>
              </a:path>
              <a:path w="1283334" h="803275">
                <a:moveTo>
                  <a:pt x="549497" y="626452"/>
                </a:moveTo>
                <a:lnTo>
                  <a:pt x="479171" y="626452"/>
                </a:lnTo>
                <a:lnTo>
                  <a:pt x="493902" y="719480"/>
                </a:lnTo>
                <a:lnTo>
                  <a:pt x="568770" y="719480"/>
                </a:lnTo>
                <a:lnTo>
                  <a:pt x="549497" y="62645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5005" y="213182"/>
            <a:ext cx="8342630" cy="6972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4400" spc="135" dirty="0">
                <a:solidFill>
                  <a:srgbClr val="1E31F9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Что такое </a:t>
            </a:r>
            <a:r>
              <a:rPr lang="en-US" sz="4400" i="1" spc="135" dirty="0">
                <a:solidFill>
                  <a:srgbClr val="1E31F9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IATA EASYPAY (IEP)</a:t>
            </a:r>
            <a:endParaRPr lang="en-US" sz="4400" i="1" dirty="0">
              <a:latin typeface="Aktiv Grotesk" panose="020B0504020202020204" pitchFamily="34" charset="0"/>
              <a:ea typeface="Aktiv Grotesk" panose="020B0504020202020204" pitchFamily="34" charset="0"/>
              <a:cs typeface="Aktiv Grotesk" panose="020B0504020202020204" pitchFamily="34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46430" y="1905000"/>
            <a:ext cx="11346180" cy="3129062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3556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54965" algn="l"/>
                <a:tab pos="355600" algn="l"/>
              </a:tabLst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Одной из составляющих программы 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NewGen ISS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и перехода на Резолюцию ИАТА 812 является внедрение в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BSP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России нового платежного решения, основанного на принципе «плачу за то, что использую» (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pay-as-you-g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)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. </a:t>
            </a:r>
          </a:p>
          <a:p>
            <a:pPr marL="3556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54965" algn="l"/>
                <a:tab pos="355600" algn="l"/>
              </a:tabLst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Это безопасный способ оплаты, при котором средства на специальном счете Агента, открытом в расчетном банке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BSP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,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блокируются в момент выписки билета. </a:t>
            </a:r>
          </a:p>
          <a:p>
            <a:pPr marL="3556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54965" algn="l"/>
                <a:tab pos="355600" algn="l"/>
              </a:tabLst>
              <a:defRPr/>
            </a:pP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IEP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 является дополнительным способом оплаты и не заменяет ни одну из уже существующих форм оплаты. 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IATA </a:t>
            </a:r>
            <a:r>
              <a:rPr kumimoji="0" lang="ru-RU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EasyPay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отличается от 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BSP </a:t>
            </a:r>
            <a:r>
              <a:rPr kumimoji="0" lang="ru-RU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Cash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и 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BSP </a:t>
            </a:r>
            <a:r>
              <a:rPr kumimoji="0" lang="ru-RU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Credit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 Card,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 имеет отдельную отчетность и свои особые правила, календарь взаиморасчетов и затратную часть.</a:t>
            </a:r>
          </a:p>
          <a:p>
            <a:pPr marL="3556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54965" algn="l"/>
                <a:tab pos="355600" algn="l"/>
              </a:tabLst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IEP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особенно необходим тем Агентам, которые по какой-либо причине имеют ограничения выписки билетов с формой оплаты 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BSP </a:t>
            </a:r>
            <a:r>
              <a:rPr kumimoji="0" lang="ru-RU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Cash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.</a:t>
            </a: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 panose="020B0504020202020204" pitchFamily="34" charset="0"/>
              <a:ea typeface="Aktiv Grotesk" panose="020B0504020202020204" pitchFamily="34" charset="0"/>
              <a:cs typeface="Aktiv Grotesk" panose="020B0504020202020204" pitchFamily="34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5004" y="213182"/>
            <a:ext cx="10292995" cy="136768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4400" spc="135" dirty="0">
                <a:solidFill>
                  <a:srgbClr val="1E31F9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Преимущества </a:t>
            </a:r>
            <a:r>
              <a:rPr lang="en-US" sz="4400" i="1" spc="135" dirty="0">
                <a:solidFill>
                  <a:srgbClr val="1E31F9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IATA EASYPAY </a:t>
            </a:r>
            <a:r>
              <a:rPr lang="ru-RU" sz="4400" i="1" spc="135" dirty="0">
                <a:solidFill>
                  <a:srgbClr val="1E31F9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 </a:t>
            </a:r>
            <a:r>
              <a:rPr lang="ru-RU" sz="4400" spc="135" dirty="0">
                <a:solidFill>
                  <a:srgbClr val="1E31F9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для Агентов – участников </a:t>
            </a:r>
            <a:r>
              <a:rPr lang="en-US" sz="4400" i="1" spc="135" dirty="0">
                <a:solidFill>
                  <a:srgbClr val="1E31F9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BSP</a:t>
            </a:r>
            <a:endParaRPr lang="en-US" sz="4400" i="1" dirty="0">
              <a:latin typeface="Aktiv Grotesk" panose="020B0504020202020204" pitchFamily="34" charset="0"/>
              <a:ea typeface="Aktiv Grotesk" panose="020B0504020202020204" pitchFamily="34" charset="0"/>
              <a:cs typeface="Aktiv Grotesk" panose="020B0504020202020204" pitchFamily="34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46429" y="1752600"/>
            <a:ext cx="11346180" cy="4416594"/>
          </a:xfrm>
          <a:prstGeom prst="rect">
            <a:avLst/>
          </a:prstGeom>
        </p:spPr>
        <p:txBody>
          <a:bodyPr vert="horz" wrap="square" lIns="0" tIns="88900" rIns="0" bIns="0" rtlCol="0">
            <a:spAutoFit/>
          </a:bodyPr>
          <a:lstStyle/>
          <a:p>
            <a:pPr marL="3556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54965" algn="l"/>
                <a:tab pos="355600" algn="l"/>
              </a:tabLst>
              <a:defRPr/>
            </a:pP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Доступность нового типа аккредитации.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IATA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EasyPay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позволяет Агентам иметь аккредитацию ИАТА и вести продажу услуг Авиакомпаний без банковской гарантии или обеспечительного депозита.</a:t>
            </a:r>
          </a:p>
          <a:p>
            <a:pPr marL="3556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54965" algn="l"/>
                <a:tab pos="355600" algn="l"/>
              </a:tabLst>
              <a:defRPr/>
            </a:pP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Снижение размера финансового обеспечения.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Транзакции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IATA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EasyPay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не учитываются при оценке размера ОКО (Объема Кредиторских Обязательств –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RHC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)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, так как не являются частью продаж с формой оплаты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CASH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. Это позволяет Агентам снижать размер банковской гарантии или обеспечительного депозита.</a:t>
            </a:r>
          </a:p>
          <a:p>
            <a:pPr marL="3556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54965" algn="l"/>
                <a:tab pos="355600" algn="l"/>
              </a:tabLst>
              <a:defRPr/>
            </a:pP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Добровольность использования.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Форма оплаты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IATA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EasyPay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доступна всем Агентам, аккредитованным в ИАТА на добровольной основе.</a:t>
            </a:r>
          </a:p>
          <a:p>
            <a:pPr marL="3556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54965" algn="l"/>
                <a:tab pos="355600" algn="l"/>
              </a:tabLst>
              <a:defRPr/>
            </a:pP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Альтернативная форма оплаты.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IATA </a:t>
            </a:r>
            <a:r>
              <a:rPr kumimoji="0" lang="en-US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EasyPay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- это дополнительный финансовый инструмент не заменяющий уже существующие решения. </a:t>
            </a:r>
          </a:p>
          <a:p>
            <a:pPr marL="3556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54965" algn="l"/>
                <a:tab pos="355600" algn="l"/>
              </a:tabLst>
              <a:defRPr/>
            </a:pP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Отсутствие прямых затрат.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 Агент не несет затрат при открытии счета и нет требований по минимальному балансу. </a:t>
            </a:r>
          </a:p>
          <a:p>
            <a:pPr marL="3556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54965" algn="l"/>
                <a:tab pos="355600" algn="l"/>
              </a:tabLst>
              <a:defRPr/>
            </a:pP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Простота в отчетности.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Отчеты доступны в рамках отчетности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BSP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4507096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5824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5800"/>
              </a:lnSpc>
              <a:spcBef>
                <a:spcPct val="0"/>
              </a:spcBef>
              <a:spcAft>
                <a:spcPct val="0"/>
              </a:spcAft>
            </a:pPr>
            <a:endParaRPr lang="en-US" sz="3600" dirty="0">
              <a:latin typeface="Aktiv Grotesk" panose="020B0504020202020204" pitchFamily="34" charset="0"/>
              <a:ea typeface="Aktiv Grotesk" panose="020B0504020202020204" pitchFamily="34" charset="0"/>
              <a:cs typeface="Aktiv Grotesk" panose="020B0504020202020204" pitchFamily="34" charset="0"/>
              <a:sym typeface="Aktiv Grotesk" panose="020B050402020202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81F5D4-B2C1-485C-A827-4A67998CC11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381000" y="6162324"/>
            <a:ext cx="4572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9E565A-6679-4A67-8FB7-14EA342FD6E1}" type="slidenum">
              <a:rPr lang="en-US" smtClean="0"/>
              <a:pPr/>
              <a:t>13</a:t>
            </a:fld>
            <a:endParaRPr lang="en-US">
              <a:solidFill>
                <a:srgbClr val="1E32FA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8"/>
          <a:srcRect l="24" t="-128" r="43825" b="-4966"/>
          <a:stretch/>
        </p:blipFill>
        <p:spPr>
          <a:xfrm>
            <a:off x="6844569" y="1573619"/>
            <a:ext cx="5061104" cy="484698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E4990F0-4B26-421E-B6A4-40ABBFA4E593}"/>
              </a:ext>
            </a:extLst>
          </p:cNvPr>
          <p:cNvSpPr txBox="1">
            <a:spLocks/>
          </p:cNvSpPr>
          <p:nvPr/>
        </p:nvSpPr>
        <p:spPr>
          <a:xfrm>
            <a:off x="286327" y="1573619"/>
            <a:ext cx="5904000" cy="2387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600" kern="1200" spc="-8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IATA Global Passenger Survey</a:t>
            </a: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205423015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Rectangle 2">
            <a:extLst>
              <a:ext uri="{FF2B5EF4-FFF2-40B4-BE49-F238E27FC236}">
                <a16:creationId xmlns:a16="http://schemas.microsoft.com/office/drawing/2014/main" id="{1CAD06F0-1484-4143-A166-736326C7E2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9" name="Title 38">
            <a:extLst>
              <a:ext uri="{FF2B5EF4-FFF2-40B4-BE49-F238E27FC236}">
                <a16:creationId xmlns:a16="http://schemas.microsoft.com/office/drawing/2014/main" id="{C3045704-B4A5-4A47-BC97-E5FAA113A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Влияние </a:t>
            </a:r>
            <a:r>
              <a:rPr lang="en-US" dirty="0">
                <a:solidFill>
                  <a:schemeClr val="bg1"/>
                </a:solidFill>
              </a:rPr>
              <a:t>COVID-19</a:t>
            </a:r>
            <a:r>
              <a:rPr lang="ru-RU" dirty="0">
                <a:solidFill>
                  <a:schemeClr val="bg1"/>
                </a:solidFill>
              </a:rPr>
              <a:t> на мои поездки</a:t>
            </a:r>
            <a:b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</a:br>
            <a:endParaRPr lang="LID4096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9936247A-AB7A-463A-81A4-686FF559DE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0" y="1485900"/>
            <a:ext cx="3384550" cy="3624719"/>
          </a:xfrm>
          <a:solidFill>
            <a:schemeClr val="bg1">
              <a:alpha val="83000"/>
            </a:schemeClr>
          </a:solidFill>
        </p:spPr>
        <p:txBody>
          <a:bodyPr lIns="182880" tIns="182880"/>
          <a:lstStyle/>
          <a:p>
            <a:r>
              <a:rPr lang="en-US" sz="6000" b="1" dirty="0">
                <a:solidFill>
                  <a:schemeClr val="accent1"/>
                </a:solidFill>
              </a:rPr>
              <a:t>75%</a:t>
            </a:r>
          </a:p>
          <a:p>
            <a:r>
              <a:rPr lang="ru-RU" sz="2400" dirty="0"/>
              <a:t>ощутили существенное ухудшение качества жизни </a:t>
            </a:r>
            <a:r>
              <a:rPr lang="ru-RU" sz="2400" b="1" dirty="0"/>
              <a:t>из-за введенных ограничений</a:t>
            </a:r>
            <a:endParaRPr lang="en-US" sz="2400" b="1" dirty="0"/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0E401677-87D2-4C2D-8EA6-8B944105D1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4022" y="1485900"/>
            <a:ext cx="3383280" cy="3624719"/>
          </a:xfrm>
          <a:solidFill>
            <a:schemeClr val="bg1">
              <a:alpha val="83000"/>
            </a:schemeClr>
          </a:solidFill>
        </p:spPr>
        <p:txBody>
          <a:bodyPr lIns="182880" tIns="182880"/>
          <a:lstStyle/>
          <a:p>
            <a:r>
              <a:rPr lang="en-US" sz="6000" b="1" dirty="0">
                <a:solidFill>
                  <a:schemeClr val="accent1"/>
                </a:solidFill>
              </a:rPr>
              <a:t>7 </a:t>
            </a:r>
            <a:r>
              <a:rPr lang="ru-RU" sz="6000" b="1" dirty="0">
                <a:solidFill>
                  <a:schemeClr val="accent1"/>
                </a:solidFill>
              </a:rPr>
              <a:t>из</a:t>
            </a:r>
            <a:r>
              <a:rPr lang="en-US" sz="6000" b="1" dirty="0">
                <a:solidFill>
                  <a:schemeClr val="accent1"/>
                </a:solidFill>
              </a:rPr>
              <a:t> 10</a:t>
            </a:r>
          </a:p>
          <a:p>
            <a:r>
              <a:rPr lang="ru-RU" sz="2400" dirty="0"/>
              <a:t>перелеты стали менее удобными из-за сложности в </a:t>
            </a:r>
            <a:r>
              <a:rPr lang="ru-RU" sz="2400" b="1" dirty="0"/>
              <a:t>понимании новых правил и требуемого документооборота</a:t>
            </a:r>
            <a:endParaRPr lang="LID4096" sz="2400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B3D79A-948C-4CF7-B854-6927B9061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1000" y="6162324"/>
            <a:ext cx="457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E565A-6679-4A67-8FB7-14EA342FD6E1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403F2E13-2A5C-414F-AFCE-208831F11402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427720" y="1485900"/>
            <a:ext cx="3383280" cy="3624719"/>
          </a:xfrm>
          <a:solidFill>
            <a:schemeClr val="bg1">
              <a:alpha val="83000"/>
            </a:schemeClr>
          </a:solidFill>
        </p:spPr>
        <p:txBody>
          <a:bodyPr lIns="182880" tIns="182880"/>
          <a:lstStyle/>
          <a:p>
            <a:r>
              <a:rPr lang="en-US" sz="6000" b="1" dirty="0">
                <a:solidFill>
                  <a:schemeClr val="accent1"/>
                </a:solidFill>
              </a:rPr>
              <a:t>9 </a:t>
            </a:r>
            <a:r>
              <a:rPr lang="ru-RU" sz="6000" b="1" dirty="0">
                <a:solidFill>
                  <a:schemeClr val="accent1"/>
                </a:solidFill>
              </a:rPr>
              <a:t>из</a:t>
            </a:r>
            <a:r>
              <a:rPr lang="en-US" sz="6000" b="1" dirty="0">
                <a:solidFill>
                  <a:schemeClr val="accent1"/>
                </a:solidFill>
              </a:rPr>
              <a:t> 10</a:t>
            </a:r>
          </a:p>
          <a:p>
            <a:r>
              <a:rPr lang="ru-RU" sz="2400" b="1" dirty="0"/>
              <a:t>позитивно настроены </a:t>
            </a:r>
            <a:r>
              <a:rPr lang="ru-RU" sz="2400" dirty="0"/>
              <a:t>по отношению к мерам, вводимым авиакомпаниями и аэропортами</a:t>
            </a:r>
            <a:endParaRPr lang="LID4096" sz="2400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33AC490-111A-4D38-A4BF-49C38367FBAE}"/>
              </a:ext>
            </a:extLst>
          </p:cNvPr>
          <p:cNvSpPr txBox="1">
            <a:spLocks/>
          </p:cNvSpPr>
          <p:nvPr/>
        </p:nvSpPr>
        <p:spPr>
          <a:xfrm>
            <a:off x="955370" y="6162324"/>
            <a:ext cx="809719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>
              <a:defRPr sz="1100">
                <a:solidFill>
                  <a:schemeClr val="accen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2021 IATA Global Passenger Survey Highlights. © Copyright International Air Transport Association.  All rights reserved.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3A8F6814-A64C-47E0-8E9D-625E43415CC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98383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48">
            <a:extLst>
              <a:ext uri="{FF2B5EF4-FFF2-40B4-BE49-F238E27FC236}">
                <a16:creationId xmlns:a16="http://schemas.microsoft.com/office/drawing/2014/main" id="{DA11AF0C-E80D-4FC2-A1F2-0A2EFB0280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утешествуя, я переживал…</a:t>
            </a:r>
            <a:br>
              <a:rPr 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</a:br>
            <a:endParaRPr lang="LID4096" dirty="0"/>
          </a:p>
        </p:txBody>
      </p:sp>
      <p:pic>
        <p:nvPicPr>
          <p:cNvPr id="101" name="Picture Placeholder 100" descr="A picture containing indoor, person, appliance, kitchen appliance&#10;&#10;Description automatically generated">
            <a:extLst>
              <a:ext uri="{FF2B5EF4-FFF2-40B4-BE49-F238E27FC236}">
                <a16:creationId xmlns:a16="http://schemas.microsoft.com/office/drawing/2014/main" id="{7E95D1F0-7C68-4342-9E81-E40E19200A3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05" r="8605"/>
          <a:stretch>
            <a:fillRect/>
          </a:stretch>
        </p:blipFill>
        <p:spPr>
          <a:xfrm>
            <a:off x="2922588" y="1106489"/>
            <a:ext cx="2927350" cy="2139094"/>
          </a:xfrm>
        </p:spPr>
      </p:pic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DA87BB57-F8E8-4292-8A70-5541B6AEDB3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106108"/>
            <a:ext cx="2926080" cy="1042817"/>
          </a:xfrm>
        </p:spPr>
        <p:txBody>
          <a:bodyPr/>
          <a:lstStyle/>
          <a:p>
            <a:r>
              <a:rPr lang="en-US" dirty="0"/>
              <a:t>63%</a:t>
            </a:r>
            <a:endParaRPr lang="LID4096" dirty="0"/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9A844D77-F750-49A8-AC22-71D10E9E8E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2148925"/>
            <a:ext cx="2926080" cy="1097039"/>
          </a:xfrm>
        </p:spPr>
        <p:txBody>
          <a:bodyPr tIns="91440"/>
          <a:lstStyle/>
          <a:p>
            <a:r>
              <a:rPr lang="ru-RU" dirty="0"/>
              <a:t>сидя рядом с инфицированным пассажиром</a:t>
            </a:r>
            <a:endParaRPr lang="LID4096" dirty="0"/>
          </a:p>
        </p:txBody>
      </p:sp>
      <p:pic>
        <p:nvPicPr>
          <p:cNvPr id="105" name="Picture Placeholder 104" descr="A picture containing indoor&#10;&#10;Description automatically generated">
            <a:extLst>
              <a:ext uri="{FF2B5EF4-FFF2-40B4-BE49-F238E27FC236}">
                <a16:creationId xmlns:a16="http://schemas.microsoft.com/office/drawing/2014/main" id="{A52E0A7F-A6DF-41CB-AB88-9BBFF151E44D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36" r="17436"/>
          <a:stretch>
            <a:fillRect/>
          </a:stretch>
        </p:blipFill>
        <p:spPr>
          <a:xfrm>
            <a:off x="8764936" y="1106489"/>
            <a:ext cx="2927350" cy="2139094"/>
          </a:xfrm>
        </p:spPr>
      </p:pic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19883B31-AD2E-4617-83A8-517B6D3102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848109" y="1106108"/>
            <a:ext cx="2926080" cy="1042817"/>
          </a:xfrm>
        </p:spPr>
        <p:txBody>
          <a:bodyPr/>
          <a:lstStyle/>
          <a:p>
            <a:r>
              <a:rPr lang="en-US" dirty="0"/>
              <a:t>51%</a:t>
            </a:r>
            <a:endParaRPr lang="LID4096" dirty="0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D99EB1CA-50C7-4C96-8713-33A2F8B8052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48109" y="2148925"/>
            <a:ext cx="2926080" cy="1096659"/>
          </a:xfrm>
        </p:spPr>
        <p:txBody>
          <a:bodyPr tIns="91440"/>
          <a:lstStyle/>
          <a:p>
            <a:r>
              <a:rPr lang="ru-RU" dirty="0"/>
              <a:t>при посещении туалета</a:t>
            </a:r>
            <a:endParaRPr lang="LID4096" dirty="0"/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D4C3DDA0-9541-4B93-A9D7-DB987A81A5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20461" y="3240617"/>
            <a:ext cx="2926080" cy="1096658"/>
          </a:xfrm>
        </p:spPr>
        <p:txBody>
          <a:bodyPr/>
          <a:lstStyle/>
          <a:p>
            <a:r>
              <a:rPr lang="en-US" dirty="0"/>
              <a:t>43%</a:t>
            </a:r>
            <a:endParaRPr lang="LID4096" dirty="0"/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AFA08CF6-178A-4622-91EC-3C02D655C72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920461" y="4167328"/>
            <a:ext cx="2926080" cy="1386099"/>
          </a:xfrm>
        </p:spPr>
        <p:txBody>
          <a:bodyPr tIns="182880"/>
          <a:lstStyle/>
          <a:p>
            <a:r>
              <a:rPr lang="ru-RU" dirty="0"/>
              <a:t>во время перекуса</a:t>
            </a:r>
            <a:endParaRPr lang="LID4096" dirty="0"/>
          </a:p>
        </p:txBody>
      </p:sp>
      <p:pic>
        <p:nvPicPr>
          <p:cNvPr id="80" name="Picture Placeholder 57">
            <a:extLst>
              <a:ext uri="{FF2B5EF4-FFF2-40B4-BE49-F238E27FC236}">
                <a16:creationId xmlns:a16="http://schemas.microsoft.com/office/drawing/2014/main" id="{BDF17C98-69F1-40F6-A3CB-5EC3E1C1B3A0}"/>
              </a:ext>
            </a:extLst>
          </p:cNvPr>
          <p:cNvPicPr>
            <a:picLocks noGrp="1" noChangeAspect="1"/>
          </p:cNvPicPr>
          <p:nvPr>
            <p:ph type="pic" sz="quarter" idx="21"/>
            <p:custDataLst>
              <p:tags r:id="rId1"/>
            </p:custDataLst>
          </p:nvPr>
        </p:nvPicPr>
        <p:blipFill rotWithShape="1"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66" r="10066"/>
          <a:stretch/>
        </p:blipFill>
        <p:spPr>
          <a:xfrm>
            <a:off x="0" y="3245583"/>
            <a:ext cx="2925763" cy="2307844"/>
          </a:xfrm>
        </p:spPr>
      </p:pic>
      <p:sp>
        <p:nvSpPr>
          <p:cNvPr id="108" name="Slide Number Placeholder 107">
            <a:extLst>
              <a:ext uri="{FF2B5EF4-FFF2-40B4-BE49-F238E27FC236}">
                <a16:creationId xmlns:a16="http://schemas.microsoft.com/office/drawing/2014/main" id="{2109253E-512E-49B6-82B5-AFF7432E0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E565A-6679-4A67-8FB7-14EA342FD6E1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1E32FA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pic>
        <p:nvPicPr>
          <p:cNvPr id="5" name="Picture Placeholder 4" descr="A picture containing indoor, wall&#10;&#10;Description automatically generated">
            <a:extLst>
              <a:ext uri="{FF2B5EF4-FFF2-40B4-BE49-F238E27FC236}">
                <a16:creationId xmlns:a16="http://schemas.microsoft.com/office/drawing/2014/main" id="{5A5F87C0-9BC4-4FD9-8CD7-018A513D2985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7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0" r="9030"/>
          <a:stretch>
            <a:fillRect/>
          </a:stretch>
        </p:blipFill>
        <p:spPr>
          <a:xfrm>
            <a:off x="5840761" y="3245583"/>
            <a:ext cx="2934996" cy="2307844"/>
          </a:xfrm>
        </p:spPr>
      </p:pic>
      <p:sp>
        <p:nvSpPr>
          <p:cNvPr id="16" name="Text Placeholder 58">
            <a:extLst>
              <a:ext uri="{FF2B5EF4-FFF2-40B4-BE49-F238E27FC236}">
                <a16:creationId xmlns:a16="http://schemas.microsoft.com/office/drawing/2014/main" id="{8D9F0107-1843-4A46-A2AA-652087DC56FF}"/>
              </a:ext>
            </a:extLst>
          </p:cNvPr>
          <p:cNvSpPr txBox="1">
            <a:spLocks/>
          </p:cNvSpPr>
          <p:nvPr/>
        </p:nvSpPr>
        <p:spPr>
          <a:xfrm>
            <a:off x="8764936" y="3240617"/>
            <a:ext cx="2926080" cy="1096658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0" rIns="91440" bIns="0" rtlCol="0" anchor="b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6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24%</a:t>
            </a:r>
            <a:endParaRPr kumimoji="0" lang="LID4096" sz="6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17" name="Text Placeholder 59">
            <a:extLst>
              <a:ext uri="{FF2B5EF4-FFF2-40B4-BE49-F238E27FC236}">
                <a16:creationId xmlns:a16="http://schemas.microsoft.com/office/drawing/2014/main" id="{97BA8130-C94B-4B80-81E0-1FD677235E89}"/>
              </a:ext>
            </a:extLst>
          </p:cNvPr>
          <p:cNvSpPr txBox="1">
            <a:spLocks/>
          </p:cNvSpPr>
          <p:nvPr/>
        </p:nvSpPr>
        <p:spPr>
          <a:xfrm>
            <a:off x="8764936" y="4167328"/>
            <a:ext cx="2926080" cy="1386099"/>
          </a:xfrm>
          <a:prstGeom prst="rect">
            <a:avLst/>
          </a:prstGeom>
          <a:solidFill>
            <a:schemeClr val="accent3"/>
          </a:solidFill>
        </p:spPr>
        <p:txBody>
          <a:bodyPr vert="horz" lIns="91440" tIns="182880" rIns="91440" bIns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5143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985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1738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ktiv Grotesk Medium" panose="020B0504020202020204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>
                <a:solidFill>
                  <a:prstClr val="white"/>
                </a:solidFill>
                <a:latin typeface="Aktiv Grotesk Medium"/>
              </a:rPr>
              <a:t>о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ktiv Grotesk Medium"/>
                <a:ea typeface="+mn-ea"/>
                <a:cs typeface="+mn-cs"/>
              </a:rPr>
              <a:t> качестве воздуха на борту</a:t>
            </a:r>
            <a:endParaRPr kumimoji="0" lang="LID4096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tiv Grotesk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3216518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D57BEC00-CAFE-46D9-9186-4FADC72F3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65124"/>
            <a:ext cx="11429324" cy="1137925"/>
          </a:xfrm>
        </p:spPr>
        <p:txBody>
          <a:bodyPr/>
          <a:lstStyle/>
          <a:p>
            <a:r>
              <a:rPr lang="ru-RU" dirty="0"/>
              <a:t>Меры, которые я хотел бы видеть в </a:t>
            </a:r>
            <a:r>
              <a:rPr lang="ru-RU" dirty="0" err="1"/>
              <a:t>постковидной</a:t>
            </a:r>
            <a:r>
              <a:rPr lang="ru-RU" dirty="0"/>
              <a:t> реальности </a:t>
            </a:r>
            <a:endParaRPr lang="LID4096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B9B641-A470-49C3-9397-4EF66BA562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E565A-6679-4A67-8FB7-14EA342FD6E1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1E32FA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7D452049-0164-4C72-914A-9BF75E52ABBD}"/>
              </a:ext>
            </a:extLst>
          </p:cNvPr>
          <p:cNvGrpSpPr/>
          <p:nvPr/>
        </p:nvGrpSpPr>
        <p:grpSpPr>
          <a:xfrm>
            <a:off x="381000" y="2788564"/>
            <a:ext cx="5752775" cy="688820"/>
            <a:chOff x="4705589" y="1495687"/>
            <a:chExt cx="4328637" cy="518298"/>
          </a:xfrm>
        </p:grpSpPr>
        <p:pic>
          <p:nvPicPr>
            <p:cNvPr id="65" name="Graphic 64" descr="User with solid fill">
              <a:extLst>
                <a:ext uri="{FF2B5EF4-FFF2-40B4-BE49-F238E27FC236}">
                  <a16:creationId xmlns:a16="http://schemas.microsoft.com/office/drawing/2014/main" id="{552035F7-9E93-4EF5-BABC-E22124D024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705589" y="1555834"/>
              <a:ext cx="359876" cy="359877"/>
            </a:xfrm>
            <a:prstGeom prst="rect">
              <a:avLst/>
            </a:prstGeom>
          </p:spPr>
        </p:pic>
        <p:pic>
          <p:nvPicPr>
            <p:cNvPr id="66" name="Graphic 65" descr="User with solid fill">
              <a:extLst>
                <a:ext uri="{FF2B5EF4-FFF2-40B4-BE49-F238E27FC236}">
                  <a16:creationId xmlns:a16="http://schemas.microsoft.com/office/drawing/2014/main" id="{C5E0F150-0276-4FAD-8493-DB9F2686A4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146562" y="1555834"/>
              <a:ext cx="359876" cy="359877"/>
            </a:xfrm>
            <a:prstGeom prst="rect">
              <a:avLst/>
            </a:prstGeom>
          </p:spPr>
        </p:pic>
        <p:pic>
          <p:nvPicPr>
            <p:cNvPr id="67" name="Graphic 66" descr="User with solid fill">
              <a:extLst>
                <a:ext uri="{FF2B5EF4-FFF2-40B4-BE49-F238E27FC236}">
                  <a16:creationId xmlns:a16="http://schemas.microsoft.com/office/drawing/2014/main" id="{422DD4D3-909F-429B-A760-634F88AD1F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587536" y="1555834"/>
              <a:ext cx="359876" cy="359877"/>
            </a:xfrm>
            <a:prstGeom prst="rect">
              <a:avLst/>
            </a:prstGeom>
          </p:spPr>
        </p:pic>
        <p:pic>
          <p:nvPicPr>
            <p:cNvPr id="68" name="Graphic 67" descr="User with solid fill">
              <a:extLst>
                <a:ext uri="{FF2B5EF4-FFF2-40B4-BE49-F238E27FC236}">
                  <a16:creationId xmlns:a16="http://schemas.microsoft.com/office/drawing/2014/main" id="{FF05FA9E-4C30-4C43-AF77-DD53E04A4F8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028510" y="1555834"/>
              <a:ext cx="359876" cy="359877"/>
            </a:xfrm>
            <a:prstGeom prst="rect">
              <a:avLst/>
            </a:prstGeom>
          </p:spPr>
        </p:pic>
        <p:pic>
          <p:nvPicPr>
            <p:cNvPr id="69" name="Graphic 68" descr="User with solid fill">
              <a:extLst>
                <a:ext uri="{FF2B5EF4-FFF2-40B4-BE49-F238E27FC236}">
                  <a16:creationId xmlns:a16="http://schemas.microsoft.com/office/drawing/2014/main" id="{2217E0E7-ED9F-45C2-8861-98F2883FA1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69483" y="1555834"/>
              <a:ext cx="359876" cy="359877"/>
            </a:xfrm>
            <a:prstGeom prst="rect">
              <a:avLst/>
            </a:prstGeom>
          </p:spPr>
        </p:pic>
        <p:pic>
          <p:nvPicPr>
            <p:cNvPr id="70" name="Graphic 69" descr="User with solid fill">
              <a:extLst>
                <a:ext uri="{FF2B5EF4-FFF2-40B4-BE49-F238E27FC236}">
                  <a16:creationId xmlns:a16="http://schemas.microsoft.com/office/drawing/2014/main" id="{08196A77-C9F2-4CE1-A2F5-B4DE60EEFFB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10457" y="1555834"/>
              <a:ext cx="359876" cy="359877"/>
            </a:xfrm>
            <a:prstGeom prst="rect">
              <a:avLst/>
            </a:prstGeom>
          </p:spPr>
        </p:pic>
        <p:pic>
          <p:nvPicPr>
            <p:cNvPr id="71" name="Graphic 70" descr="User with solid fill">
              <a:extLst>
                <a:ext uri="{FF2B5EF4-FFF2-40B4-BE49-F238E27FC236}">
                  <a16:creationId xmlns:a16="http://schemas.microsoft.com/office/drawing/2014/main" id="{71ED96D8-F372-40BC-8ED4-AF780E14217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351430" y="1555834"/>
              <a:ext cx="359876" cy="359877"/>
            </a:xfrm>
            <a:prstGeom prst="rect">
              <a:avLst/>
            </a:prstGeom>
          </p:spPr>
        </p:pic>
        <p:pic>
          <p:nvPicPr>
            <p:cNvPr id="72" name="Graphic 71" descr="User with solid fill">
              <a:extLst>
                <a:ext uri="{FF2B5EF4-FFF2-40B4-BE49-F238E27FC236}">
                  <a16:creationId xmlns:a16="http://schemas.microsoft.com/office/drawing/2014/main" id="{6F0E1872-819A-4E9E-B7B8-DB2472F1B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792404" y="1555834"/>
              <a:ext cx="359876" cy="359877"/>
            </a:xfrm>
            <a:prstGeom prst="rect">
              <a:avLst/>
            </a:prstGeom>
          </p:spPr>
        </p:pic>
        <p:pic>
          <p:nvPicPr>
            <p:cNvPr id="73" name="Graphic 72" descr="User with solid fill">
              <a:extLst>
                <a:ext uri="{FF2B5EF4-FFF2-40B4-BE49-F238E27FC236}">
                  <a16:creationId xmlns:a16="http://schemas.microsoft.com/office/drawing/2014/main" id="{82844CB7-C2F8-4D43-9E73-C3CFBF0221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233378" y="1555834"/>
              <a:ext cx="359876" cy="359877"/>
            </a:xfrm>
            <a:prstGeom prst="rect">
              <a:avLst/>
            </a:prstGeom>
          </p:spPr>
        </p:pic>
        <p:pic>
          <p:nvPicPr>
            <p:cNvPr id="74" name="Graphic 73" descr="User with solid fill">
              <a:extLst>
                <a:ext uri="{FF2B5EF4-FFF2-40B4-BE49-F238E27FC236}">
                  <a16:creationId xmlns:a16="http://schemas.microsoft.com/office/drawing/2014/main" id="{A2DC5639-8DDD-4907-AD51-4F154FFD58D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674350" y="1555834"/>
              <a:ext cx="359876" cy="359877"/>
            </a:xfrm>
            <a:prstGeom prst="rect">
              <a:avLst/>
            </a:prstGeom>
          </p:spPr>
        </p:pic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BC43B5A9-903A-4002-B7CB-2A43F24B5A57}"/>
                </a:ext>
              </a:extLst>
            </p:cNvPr>
            <p:cNvSpPr/>
            <p:nvPr/>
          </p:nvSpPr>
          <p:spPr>
            <a:xfrm>
              <a:off x="6663463" y="1495687"/>
              <a:ext cx="236841" cy="518298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ktiv Grotesk"/>
                <a:ea typeface="+mn-ea"/>
                <a:cs typeface="+mn-cs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3C5DFF61-E8C5-4C11-AE71-066E2F8D8ED9}"/>
              </a:ext>
            </a:extLst>
          </p:cNvPr>
          <p:cNvGrpSpPr/>
          <p:nvPr/>
        </p:nvGrpSpPr>
        <p:grpSpPr>
          <a:xfrm>
            <a:off x="389210" y="3861699"/>
            <a:ext cx="5806017" cy="695195"/>
            <a:chOff x="4705589" y="1975857"/>
            <a:chExt cx="4328637" cy="518298"/>
          </a:xfrm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3CAD5852-C991-4CBF-B49D-696968F16C98}"/>
                </a:ext>
              </a:extLst>
            </p:cNvPr>
            <p:cNvGrpSpPr/>
            <p:nvPr/>
          </p:nvGrpSpPr>
          <p:grpSpPr>
            <a:xfrm>
              <a:off x="4705589" y="2091945"/>
              <a:ext cx="4328637" cy="359877"/>
              <a:chOff x="4705589" y="2091945"/>
              <a:chExt cx="4328637" cy="359877"/>
            </a:xfrm>
          </p:grpSpPr>
          <p:pic>
            <p:nvPicPr>
              <p:cNvPr id="79" name="Graphic 78" descr="User with solid fill">
                <a:extLst>
                  <a:ext uri="{FF2B5EF4-FFF2-40B4-BE49-F238E27FC236}">
                    <a16:creationId xmlns:a16="http://schemas.microsoft.com/office/drawing/2014/main" id="{18772253-B5B1-4B67-8313-F261C07CF8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4705589" y="2091945"/>
                <a:ext cx="359876" cy="359877"/>
              </a:xfrm>
              <a:prstGeom prst="rect">
                <a:avLst/>
              </a:prstGeom>
            </p:spPr>
          </p:pic>
          <p:pic>
            <p:nvPicPr>
              <p:cNvPr id="80" name="Graphic 79" descr="User with solid fill">
                <a:extLst>
                  <a:ext uri="{FF2B5EF4-FFF2-40B4-BE49-F238E27FC236}">
                    <a16:creationId xmlns:a16="http://schemas.microsoft.com/office/drawing/2014/main" id="{274E2B58-BA5E-4C38-8D95-209CD4A858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146562" y="2091945"/>
                <a:ext cx="359876" cy="359877"/>
              </a:xfrm>
              <a:prstGeom prst="rect">
                <a:avLst/>
              </a:prstGeom>
            </p:spPr>
          </p:pic>
          <p:pic>
            <p:nvPicPr>
              <p:cNvPr id="81" name="Graphic 80" descr="User with solid fill">
                <a:extLst>
                  <a:ext uri="{FF2B5EF4-FFF2-40B4-BE49-F238E27FC236}">
                    <a16:creationId xmlns:a16="http://schemas.microsoft.com/office/drawing/2014/main" id="{F4C2F700-79F3-4C0C-9C8C-3D84F1FDE6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5587536" y="2091945"/>
                <a:ext cx="359876" cy="359877"/>
              </a:xfrm>
              <a:prstGeom prst="rect">
                <a:avLst/>
              </a:prstGeom>
            </p:spPr>
          </p:pic>
          <p:pic>
            <p:nvPicPr>
              <p:cNvPr id="82" name="Graphic 81" descr="User with solid fill">
                <a:extLst>
                  <a:ext uri="{FF2B5EF4-FFF2-40B4-BE49-F238E27FC236}">
                    <a16:creationId xmlns:a16="http://schemas.microsoft.com/office/drawing/2014/main" id="{9A6A6A0D-10AA-47D9-9F4C-B17617F68A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6028510" y="2091945"/>
                <a:ext cx="359876" cy="359877"/>
              </a:xfrm>
              <a:prstGeom prst="rect">
                <a:avLst/>
              </a:prstGeom>
            </p:spPr>
          </p:pic>
          <p:pic>
            <p:nvPicPr>
              <p:cNvPr id="83" name="Graphic 82" descr="User with solid fill">
                <a:extLst>
                  <a:ext uri="{FF2B5EF4-FFF2-40B4-BE49-F238E27FC236}">
                    <a16:creationId xmlns:a16="http://schemas.microsoft.com/office/drawing/2014/main" id="{9313F59C-BD61-4CA7-9F55-F267BA8842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469483" y="2091945"/>
                <a:ext cx="359876" cy="359877"/>
              </a:xfrm>
              <a:prstGeom prst="rect">
                <a:avLst/>
              </a:prstGeom>
            </p:spPr>
          </p:pic>
          <p:pic>
            <p:nvPicPr>
              <p:cNvPr id="84" name="Graphic 83" descr="User with solid fill">
                <a:extLst>
                  <a:ext uri="{FF2B5EF4-FFF2-40B4-BE49-F238E27FC236}">
                    <a16:creationId xmlns:a16="http://schemas.microsoft.com/office/drawing/2014/main" id="{6ECBA95C-E19F-4D59-9D61-AF5381C9C6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910457" y="2091945"/>
                <a:ext cx="359876" cy="359877"/>
              </a:xfrm>
              <a:prstGeom prst="rect">
                <a:avLst/>
              </a:prstGeom>
            </p:spPr>
          </p:pic>
          <p:pic>
            <p:nvPicPr>
              <p:cNvPr id="85" name="Graphic 84" descr="User with solid fill">
                <a:extLst>
                  <a:ext uri="{FF2B5EF4-FFF2-40B4-BE49-F238E27FC236}">
                    <a16:creationId xmlns:a16="http://schemas.microsoft.com/office/drawing/2014/main" id="{4BCBB9D5-4378-4A1F-99AB-C8AD931656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7351430" y="2091945"/>
                <a:ext cx="359876" cy="359877"/>
              </a:xfrm>
              <a:prstGeom prst="rect">
                <a:avLst/>
              </a:prstGeom>
            </p:spPr>
          </p:pic>
          <p:pic>
            <p:nvPicPr>
              <p:cNvPr id="86" name="Graphic 85" descr="User with solid fill">
                <a:extLst>
                  <a:ext uri="{FF2B5EF4-FFF2-40B4-BE49-F238E27FC236}">
                    <a16:creationId xmlns:a16="http://schemas.microsoft.com/office/drawing/2014/main" id="{08E7A638-BE43-463B-BCCF-DDC9BC71E5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7792404" y="2091945"/>
                <a:ext cx="359876" cy="359877"/>
              </a:xfrm>
              <a:prstGeom prst="rect">
                <a:avLst/>
              </a:prstGeom>
            </p:spPr>
          </p:pic>
          <p:pic>
            <p:nvPicPr>
              <p:cNvPr id="87" name="Graphic 86" descr="User with solid fill">
                <a:extLst>
                  <a:ext uri="{FF2B5EF4-FFF2-40B4-BE49-F238E27FC236}">
                    <a16:creationId xmlns:a16="http://schemas.microsoft.com/office/drawing/2014/main" id="{485B52E1-63A6-4BE2-8148-5D6BEAA810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233378" y="2091945"/>
                <a:ext cx="359876" cy="359877"/>
              </a:xfrm>
              <a:prstGeom prst="rect">
                <a:avLst/>
              </a:prstGeom>
            </p:spPr>
          </p:pic>
          <p:pic>
            <p:nvPicPr>
              <p:cNvPr id="88" name="Graphic 87" descr="User with solid fill">
                <a:extLst>
                  <a:ext uri="{FF2B5EF4-FFF2-40B4-BE49-F238E27FC236}">
                    <a16:creationId xmlns:a16="http://schemas.microsoft.com/office/drawing/2014/main" id="{8F19DF94-C1B0-48B2-AA9C-065FA9BD5B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674350" y="2091945"/>
                <a:ext cx="359876" cy="359877"/>
              </a:xfrm>
              <a:prstGeom prst="rect">
                <a:avLst/>
              </a:prstGeom>
            </p:spPr>
          </p:pic>
        </p:grp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1919530C-C356-436D-921B-C6116137625C}"/>
                </a:ext>
              </a:extLst>
            </p:cNvPr>
            <p:cNvSpPr/>
            <p:nvPr/>
          </p:nvSpPr>
          <p:spPr>
            <a:xfrm>
              <a:off x="6176919" y="1975857"/>
              <a:ext cx="236841" cy="518298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ktiv Grotesk"/>
                <a:ea typeface="+mn-ea"/>
                <a:cs typeface="+mn-cs"/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4B212ED8-B4DF-483B-8D5C-2C4F74CFCBE6}"/>
              </a:ext>
            </a:extLst>
          </p:cNvPr>
          <p:cNvGrpSpPr/>
          <p:nvPr/>
        </p:nvGrpSpPr>
        <p:grpSpPr>
          <a:xfrm>
            <a:off x="386003" y="1686244"/>
            <a:ext cx="5777192" cy="564170"/>
            <a:chOff x="4705221" y="954784"/>
            <a:chExt cx="4328639" cy="422712"/>
          </a:xfrm>
        </p:grpSpPr>
        <p:pic>
          <p:nvPicPr>
            <p:cNvPr id="90" name="Graphic 89" descr="User with solid fill">
              <a:extLst>
                <a:ext uri="{FF2B5EF4-FFF2-40B4-BE49-F238E27FC236}">
                  <a16:creationId xmlns:a16="http://schemas.microsoft.com/office/drawing/2014/main" id="{62DC7A67-FD67-45AA-A7B4-5BFBF4D50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705221" y="1017619"/>
              <a:ext cx="359876" cy="359877"/>
            </a:xfrm>
            <a:prstGeom prst="rect">
              <a:avLst/>
            </a:prstGeom>
          </p:spPr>
        </p:pic>
        <p:pic>
          <p:nvPicPr>
            <p:cNvPr id="91" name="Graphic 90" descr="User with solid fill">
              <a:extLst>
                <a:ext uri="{FF2B5EF4-FFF2-40B4-BE49-F238E27FC236}">
                  <a16:creationId xmlns:a16="http://schemas.microsoft.com/office/drawing/2014/main" id="{C5805426-6382-4CED-B7CA-A09AC89A8F3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146195" y="1017619"/>
              <a:ext cx="359876" cy="359877"/>
            </a:xfrm>
            <a:prstGeom prst="rect">
              <a:avLst/>
            </a:prstGeom>
          </p:spPr>
        </p:pic>
        <p:pic>
          <p:nvPicPr>
            <p:cNvPr id="92" name="Graphic 91" descr="User with solid fill">
              <a:extLst>
                <a:ext uri="{FF2B5EF4-FFF2-40B4-BE49-F238E27FC236}">
                  <a16:creationId xmlns:a16="http://schemas.microsoft.com/office/drawing/2014/main" id="{1F531B49-2941-45D5-A47F-8F12DACFD71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587169" y="1017619"/>
              <a:ext cx="359876" cy="359877"/>
            </a:xfrm>
            <a:prstGeom prst="rect">
              <a:avLst/>
            </a:prstGeom>
          </p:spPr>
        </p:pic>
        <p:pic>
          <p:nvPicPr>
            <p:cNvPr id="93" name="Graphic 92" descr="User with solid fill">
              <a:extLst>
                <a:ext uri="{FF2B5EF4-FFF2-40B4-BE49-F238E27FC236}">
                  <a16:creationId xmlns:a16="http://schemas.microsoft.com/office/drawing/2014/main" id="{031EFEAF-AF81-4532-ABA9-6A22798218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028142" y="1017619"/>
              <a:ext cx="359876" cy="359877"/>
            </a:xfrm>
            <a:prstGeom prst="rect">
              <a:avLst/>
            </a:prstGeom>
          </p:spPr>
        </p:pic>
        <p:pic>
          <p:nvPicPr>
            <p:cNvPr id="94" name="Graphic 93" descr="User with solid fill">
              <a:extLst>
                <a:ext uri="{FF2B5EF4-FFF2-40B4-BE49-F238E27FC236}">
                  <a16:creationId xmlns:a16="http://schemas.microsoft.com/office/drawing/2014/main" id="{C7237294-7FC7-4CCE-8DB2-FBF21FC9D1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469116" y="1017619"/>
              <a:ext cx="359876" cy="359877"/>
            </a:xfrm>
            <a:prstGeom prst="rect">
              <a:avLst/>
            </a:prstGeom>
          </p:spPr>
        </p:pic>
        <p:pic>
          <p:nvPicPr>
            <p:cNvPr id="95" name="Graphic 94" descr="User with solid fill">
              <a:extLst>
                <a:ext uri="{FF2B5EF4-FFF2-40B4-BE49-F238E27FC236}">
                  <a16:creationId xmlns:a16="http://schemas.microsoft.com/office/drawing/2014/main" id="{7CCE85DA-3C4A-4780-96B1-933C6738FC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10090" y="1017619"/>
              <a:ext cx="359876" cy="359877"/>
            </a:xfrm>
            <a:prstGeom prst="rect">
              <a:avLst/>
            </a:prstGeom>
          </p:spPr>
        </p:pic>
        <p:pic>
          <p:nvPicPr>
            <p:cNvPr id="96" name="Graphic 95" descr="User with solid fill">
              <a:extLst>
                <a:ext uri="{FF2B5EF4-FFF2-40B4-BE49-F238E27FC236}">
                  <a16:creationId xmlns:a16="http://schemas.microsoft.com/office/drawing/2014/main" id="{040B1A46-5204-467F-B3BF-52629B28FBB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351063" y="1017619"/>
              <a:ext cx="359876" cy="359877"/>
            </a:xfrm>
            <a:prstGeom prst="rect">
              <a:avLst/>
            </a:prstGeom>
          </p:spPr>
        </p:pic>
        <p:pic>
          <p:nvPicPr>
            <p:cNvPr id="97" name="Graphic 96" descr="User with solid fill">
              <a:extLst>
                <a:ext uri="{FF2B5EF4-FFF2-40B4-BE49-F238E27FC236}">
                  <a16:creationId xmlns:a16="http://schemas.microsoft.com/office/drawing/2014/main" id="{857864F7-7993-4762-A141-F2D564EDB3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792037" y="1017619"/>
              <a:ext cx="359876" cy="359877"/>
            </a:xfrm>
            <a:prstGeom prst="rect">
              <a:avLst/>
            </a:prstGeom>
          </p:spPr>
        </p:pic>
        <p:pic>
          <p:nvPicPr>
            <p:cNvPr id="98" name="Graphic 97" descr="User with solid fill">
              <a:extLst>
                <a:ext uri="{FF2B5EF4-FFF2-40B4-BE49-F238E27FC236}">
                  <a16:creationId xmlns:a16="http://schemas.microsoft.com/office/drawing/2014/main" id="{FAF2F283-8B4D-45EB-B648-D343A1D2556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233010" y="1017619"/>
              <a:ext cx="359876" cy="359877"/>
            </a:xfrm>
            <a:prstGeom prst="rect">
              <a:avLst/>
            </a:prstGeom>
          </p:spPr>
        </p:pic>
        <p:pic>
          <p:nvPicPr>
            <p:cNvPr id="99" name="Graphic 98" descr="User with solid fill">
              <a:extLst>
                <a:ext uri="{FF2B5EF4-FFF2-40B4-BE49-F238E27FC236}">
                  <a16:creationId xmlns:a16="http://schemas.microsoft.com/office/drawing/2014/main" id="{FEE27604-2EB0-44CB-9CE4-AA42417046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673984" y="1017619"/>
              <a:ext cx="359876" cy="359877"/>
            </a:xfrm>
            <a:prstGeom prst="rect">
              <a:avLst/>
            </a:prstGeom>
          </p:spPr>
        </p:pic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0EBF7DDE-42EA-41A8-B170-04C1011EA85C}"/>
                </a:ext>
              </a:extLst>
            </p:cNvPr>
            <p:cNvSpPr/>
            <p:nvPr/>
          </p:nvSpPr>
          <p:spPr>
            <a:xfrm>
              <a:off x="6679116" y="954784"/>
              <a:ext cx="189538" cy="41478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ktiv Grotesk"/>
                <a:ea typeface="+mn-ea"/>
                <a:cs typeface="+mn-cs"/>
              </a:endParaRPr>
            </a:p>
          </p:txBody>
        </p:sp>
      </p:grpSp>
      <p:sp>
        <p:nvSpPr>
          <p:cNvPr id="105" name="TextBox 104">
            <a:extLst>
              <a:ext uri="{FF2B5EF4-FFF2-40B4-BE49-F238E27FC236}">
                <a16:creationId xmlns:a16="http://schemas.microsoft.com/office/drawing/2014/main" id="{6D276250-4FED-4AEC-ACFC-7DC64CE752ED}"/>
              </a:ext>
            </a:extLst>
          </p:cNvPr>
          <p:cNvSpPr txBox="1"/>
          <p:nvPr/>
        </p:nvSpPr>
        <p:spPr>
          <a:xfrm>
            <a:off x="6707068" y="2095514"/>
            <a:ext cx="4510386" cy="4803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наличие сертификата о прививках при путешествиях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B7D95FC5-31DB-4FCE-8496-92D4CD2C7775}"/>
              </a:ext>
            </a:extLst>
          </p:cNvPr>
          <p:cNvSpPr txBox="1"/>
          <p:nvPr/>
        </p:nvSpPr>
        <p:spPr>
          <a:xfrm>
            <a:off x="6707069" y="4396927"/>
            <a:ext cx="4504242" cy="4135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prstClr val="black"/>
                </a:solidFill>
                <a:latin typeface="Aktiv Grotesk"/>
              </a:rPr>
              <a:t>п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овышенное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 качество санитарной обработки мест общего пользования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6DB1CC2D-2EE7-48C9-BF74-6E813684C6CE}"/>
              </a:ext>
            </a:extLst>
          </p:cNvPr>
          <p:cNvSpPr txBox="1"/>
          <p:nvPr/>
        </p:nvSpPr>
        <p:spPr>
          <a:xfrm>
            <a:off x="6707067" y="1505205"/>
            <a:ext cx="1549908" cy="5881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47%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52EB5A25-9C71-4679-8408-8D4109EC6FA8}"/>
              </a:ext>
            </a:extLst>
          </p:cNvPr>
          <p:cNvGrpSpPr/>
          <p:nvPr/>
        </p:nvGrpSpPr>
        <p:grpSpPr>
          <a:xfrm>
            <a:off x="6707067" y="2564735"/>
            <a:ext cx="4661973" cy="1183475"/>
            <a:chOff x="6707067" y="2364391"/>
            <a:chExt cx="4661973" cy="1183475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5B1FB2DF-536D-403C-BE24-B44485F055F4}"/>
                </a:ext>
              </a:extLst>
            </p:cNvPr>
            <p:cNvSpPr txBox="1"/>
            <p:nvPr/>
          </p:nvSpPr>
          <p:spPr>
            <a:xfrm>
              <a:off x="6707067" y="2971922"/>
              <a:ext cx="4661973" cy="575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dirty="0">
                  <a:solidFill>
                    <a:prstClr val="black"/>
                  </a:solidFill>
                  <a:latin typeface="Aktiv Grotesk"/>
                </a:rPr>
                <a:t>и</a:t>
              </a:r>
              <a:r>
                <a:rPr kumimoji="0" lang="ru-RU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ktiv Grotesk"/>
                  <a:ea typeface="+mn-ea"/>
                  <a:cs typeface="+mn-cs"/>
                </a:rPr>
                <a:t>спользование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ktiv Grotesk"/>
                  <a:ea typeface="+mn-ea"/>
                  <a:cs typeface="+mn-cs"/>
                </a:rPr>
                <a:t> стандартного приложения для проверки документов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5E2D0FD1-8782-411D-BAB6-62B81F8FFC47}"/>
                </a:ext>
              </a:extLst>
            </p:cNvPr>
            <p:cNvSpPr txBox="1"/>
            <p:nvPr/>
          </p:nvSpPr>
          <p:spPr>
            <a:xfrm>
              <a:off x="6707067" y="2364391"/>
              <a:ext cx="1373205" cy="5881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FAC832"/>
                  </a:solidFill>
                  <a:effectLst/>
                  <a:uLnTx/>
                  <a:uFillTx/>
                  <a:latin typeface="Aktiv Grotesk"/>
                  <a:ea typeface="+mn-ea"/>
                  <a:cs typeface="+mn-cs"/>
                </a:rPr>
                <a:t>46%</a:t>
              </a:r>
            </a:p>
          </p:txBody>
        </p:sp>
      </p:grpSp>
      <p:sp>
        <p:nvSpPr>
          <p:cNvPr id="110" name="TextBox 109">
            <a:extLst>
              <a:ext uri="{FF2B5EF4-FFF2-40B4-BE49-F238E27FC236}">
                <a16:creationId xmlns:a16="http://schemas.microsoft.com/office/drawing/2014/main" id="{E864127A-BA4C-4196-AC81-810C04A25800}"/>
              </a:ext>
            </a:extLst>
          </p:cNvPr>
          <p:cNvSpPr txBox="1"/>
          <p:nvPr/>
        </p:nvSpPr>
        <p:spPr>
          <a:xfrm>
            <a:off x="6707067" y="3830085"/>
            <a:ext cx="1348954" cy="1397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33%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B820DA7F-2B05-442D-B0FA-AA01B9161C86}"/>
              </a:ext>
            </a:extLst>
          </p:cNvPr>
          <p:cNvGrpSpPr/>
          <p:nvPr/>
        </p:nvGrpSpPr>
        <p:grpSpPr>
          <a:xfrm>
            <a:off x="389210" y="5181213"/>
            <a:ext cx="1436545" cy="450428"/>
            <a:chOff x="310832" y="4701169"/>
            <a:chExt cx="1535479" cy="450428"/>
          </a:xfrm>
        </p:grpSpPr>
        <p:pic>
          <p:nvPicPr>
            <p:cNvPr id="115" name="Graphic 114" descr="User with solid fill">
              <a:extLst>
                <a:ext uri="{FF2B5EF4-FFF2-40B4-BE49-F238E27FC236}">
                  <a16:creationId xmlns:a16="http://schemas.microsoft.com/office/drawing/2014/main" id="{D086B968-9BCA-4F4C-A7EC-CC6371A3E4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10832" y="4701169"/>
              <a:ext cx="450429" cy="450428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835A792-1B8F-4489-B2DB-846DE42EEFD7}"/>
                </a:ext>
              </a:extLst>
            </p:cNvPr>
            <p:cNvSpPr txBox="1"/>
            <p:nvPr/>
          </p:nvSpPr>
          <p:spPr>
            <a:xfrm>
              <a:off x="862498" y="4794438"/>
              <a:ext cx="983813" cy="30545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ktiv Grotesk"/>
                  <a:ea typeface="+mn-ea"/>
                  <a:cs typeface="+mn-cs"/>
                </a:rPr>
                <a:t>=10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5153363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C35B53-753B-424E-B7AB-27965DE43C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4434" y="2286000"/>
            <a:ext cx="5486400" cy="2286000"/>
          </a:xfrm>
        </p:spPr>
        <p:txBody>
          <a:bodyPr/>
          <a:lstStyle/>
          <a:p>
            <a:r>
              <a:rPr lang="ru-RU" dirty="0"/>
              <a:t>Вызовы ближайших лет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35B0D6-44B3-459B-8977-A4000BB5D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18B75B-45BB-9C4B-9E16-0D1DF46F8DB3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1633583-DD23-44C6-9B2D-30FA0A98D4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pic>
        <p:nvPicPr>
          <p:cNvPr id="9" name="Picture Placeholder 8" descr="A close up of a camera&#10;&#10;Description automatically generated">
            <a:extLst>
              <a:ext uri="{FF2B5EF4-FFF2-40B4-BE49-F238E27FC236}">
                <a16:creationId xmlns:a16="http://schemas.microsoft.com/office/drawing/2014/main" id="{C2120E61-F06D-40A6-9B6A-008B0D6D7F9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0"/>
            <a:ext cx="6096303" cy="6858000"/>
          </a:xfrm>
        </p:spPr>
      </p:pic>
    </p:spTree>
    <p:extLst>
      <p:ext uri="{BB962C8B-B14F-4D97-AF65-F5344CB8AC3E}">
        <p14:creationId xmlns:p14="http://schemas.microsoft.com/office/powerpoint/2010/main" val="156922762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83C6CD95-5EF1-2D4B-94BA-0DA2F2BD120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9568" y="478271"/>
            <a:ext cx="2268000" cy="2270718"/>
          </a:xfrm>
          <a:custGeom>
            <a:avLst/>
            <a:gdLst>
              <a:gd name="T0" fmla="*/ 1440 w 2880"/>
              <a:gd name="T1" fmla="*/ 0 h 2880"/>
              <a:gd name="T2" fmla="*/ 0 w 2880"/>
              <a:gd name="T3" fmla="*/ 1440 h 2880"/>
              <a:gd name="T4" fmla="*/ 1440 w 2880"/>
              <a:gd name="T5" fmla="*/ 2880 h 2880"/>
              <a:gd name="T6" fmla="*/ 2880 w 2880"/>
              <a:gd name="T7" fmla="*/ 1440 h 2880"/>
              <a:gd name="T8" fmla="*/ 1440 w 2880"/>
              <a:gd name="T9" fmla="*/ 0 h 2880"/>
              <a:gd name="T10" fmla="*/ 1440 w 2880"/>
              <a:gd name="T11" fmla="*/ 2400 h 2880"/>
              <a:gd name="T12" fmla="*/ 480 w 2880"/>
              <a:gd name="T13" fmla="*/ 1440 h 2880"/>
              <a:gd name="T14" fmla="*/ 1440 w 2880"/>
              <a:gd name="T15" fmla="*/ 480 h 2880"/>
              <a:gd name="T16" fmla="*/ 2400 w 2880"/>
              <a:gd name="T17" fmla="*/ 1440 h 2880"/>
              <a:gd name="T18" fmla="*/ 1440 w 2880"/>
              <a:gd name="T19" fmla="*/ 2400 h 2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880" h="2880">
                <a:moveTo>
                  <a:pt x="1440" y="0"/>
                </a:moveTo>
                <a:cubicBezTo>
                  <a:pt x="645" y="0"/>
                  <a:pt x="0" y="645"/>
                  <a:pt x="0" y="1440"/>
                </a:cubicBezTo>
                <a:cubicBezTo>
                  <a:pt x="0" y="2235"/>
                  <a:pt x="645" y="2880"/>
                  <a:pt x="1440" y="2880"/>
                </a:cubicBezTo>
                <a:cubicBezTo>
                  <a:pt x="2235" y="2880"/>
                  <a:pt x="2880" y="2235"/>
                  <a:pt x="2880" y="1440"/>
                </a:cubicBezTo>
                <a:cubicBezTo>
                  <a:pt x="2880" y="645"/>
                  <a:pt x="2235" y="0"/>
                  <a:pt x="1440" y="0"/>
                </a:cubicBezTo>
                <a:close/>
                <a:moveTo>
                  <a:pt x="1440" y="2400"/>
                </a:moveTo>
                <a:cubicBezTo>
                  <a:pt x="910" y="2400"/>
                  <a:pt x="480" y="1970"/>
                  <a:pt x="480" y="1440"/>
                </a:cubicBezTo>
                <a:cubicBezTo>
                  <a:pt x="480" y="910"/>
                  <a:pt x="910" y="480"/>
                  <a:pt x="1440" y="480"/>
                </a:cubicBezTo>
                <a:cubicBezTo>
                  <a:pt x="1970" y="480"/>
                  <a:pt x="2400" y="910"/>
                  <a:pt x="2400" y="1440"/>
                </a:cubicBezTo>
                <a:cubicBezTo>
                  <a:pt x="2400" y="1970"/>
                  <a:pt x="1970" y="2400"/>
                  <a:pt x="1440" y="24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561234" y="482771"/>
            <a:ext cx="2266218" cy="22662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 Medium"/>
                <a:ea typeface="+mn-ea"/>
                <a:cs typeface="+mn-cs"/>
              </a:rPr>
              <a:t>Партнеры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 Medium"/>
              <a:ea typeface="+mn-ea"/>
              <a:cs typeface="+mn-cs"/>
            </a:endParaRPr>
          </a:p>
        </p:txBody>
      </p:sp>
      <p:sp>
        <p:nvSpPr>
          <p:cNvPr id="7" name="Oval 6"/>
          <p:cNvSpPr/>
          <p:nvPr/>
        </p:nvSpPr>
        <p:spPr>
          <a:xfrm>
            <a:off x="6605686" y="482771"/>
            <a:ext cx="2266218" cy="226621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ktiv Grotesk Medium"/>
                <a:ea typeface="+mn-ea"/>
                <a:cs typeface="+mn-cs"/>
              </a:rPr>
              <a:t>Пассажиры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ktiv Grotesk Medium"/>
              <a:ea typeface="+mn-ea"/>
              <a:cs typeface="+mn-cs"/>
            </a:endParaRPr>
          </a:p>
        </p:txBody>
      </p:sp>
      <p:sp>
        <p:nvSpPr>
          <p:cNvPr id="9" name="Oval 8"/>
          <p:cNvSpPr/>
          <p:nvPr/>
        </p:nvSpPr>
        <p:spPr>
          <a:xfrm>
            <a:off x="908773" y="874762"/>
            <a:ext cx="1482236" cy="148223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 Medium"/>
                <a:ea typeface="+mn-ea"/>
                <a:cs typeface="+mn-cs"/>
              </a:rPr>
              <a:t>Ави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1E32FA"/>
                </a:solidFill>
                <a:effectLst/>
                <a:uLnTx/>
                <a:uFillTx/>
                <a:latin typeface="Aktiv Grotesk Medium"/>
                <a:ea typeface="+mn-ea"/>
                <a:cs typeface="+mn-cs"/>
              </a:rPr>
              <a:t>компании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1E32FA"/>
              </a:solidFill>
              <a:effectLst/>
              <a:uLnTx/>
              <a:uFillTx/>
              <a:latin typeface="Aktiv Grotesk Medium"/>
              <a:ea typeface="+mn-ea"/>
              <a:cs typeface="+mn-cs"/>
            </a:endParaRP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3C3EFBE7-C9F6-464E-9ECC-2C10850763A5}"/>
              </a:ext>
            </a:extLst>
          </p:cNvPr>
          <p:cNvSpPr>
            <a:spLocks noChangeAspect="1"/>
          </p:cNvSpPr>
          <p:nvPr/>
        </p:nvSpPr>
        <p:spPr bwMode="auto">
          <a:xfrm>
            <a:off x="9642322" y="482771"/>
            <a:ext cx="2268000" cy="2270718"/>
          </a:xfrm>
          <a:custGeom>
            <a:avLst/>
            <a:gdLst>
              <a:gd name="T0" fmla="*/ 1920 w 2880"/>
              <a:gd name="T1" fmla="*/ 0 h 2880"/>
              <a:gd name="T2" fmla="*/ 0 w 2880"/>
              <a:gd name="T3" fmla="*/ 0 h 2880"/>
              <a:gd name="T4" fmla="*/ 0 w 2880"/>
              <a:gd name="T5" fmla="*/ 2880 h 2880"/>
              <a:gd name="T6" fmla="*/ 2880 w 2880"/>
              <a:gd name="T7" fmla="*/ 2880 h 2880"/>
              <a:gd name="T8" fmla="*/ 2880 w 2880"/>
              <a:gd name="T9" fmla="*/ 960 h 2880"/>
              <a:gd name="T10" fmla="*/ 1920 w 2880"/>
              <a:gd name="T11" fmla="*/ 0 h 2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80" h="2880">
                <a:moveTo>
                  <a:pt x="192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2880"/>
                  <a:pt x="0" y="2880"/>
                  <a:pt x="0" y="2880"/>
                </a:cubicBezTo>
                <a:cubicBezTo>
                  <a:pt x="2880" y="2880"/>
                  <a:pt x="2880" y="2880"/>
                  <a:pt x="2880" y="2880"/>
                </a:cubicBezTo>
                <a:cubicBezTo>
                  <a:pt x="2880" y="960"/>
                  <a:pt x="2880" y="960"/>
                  <a:pt x="2880" y="960"/>
                </a:cubicBezTo>
                <a:cubicBezTo>
                  <a:pt x="2350" y="960"/>
                  <a:pt x="1920" y="530"/>
                  <a:pt x="192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650139" y="1123633"/>
            <a:ext cx="2266218" cy="9844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ktiv Grotesk Medium"/>
                <a:ea typeface="+mn-ea"/>
                <a:cs typeface="+mn-cs"/>
              </a:rPr>
              <a:t>Регуляторы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ktiv Grotesk Medium"/>
              <a:ea typeface="+mn-ea"/>
              <a:cs typeface="+mn-cs"/>
            </a:endParaRPr>
          </a:p>
        </p:txBody>
      </p:sp>
      <p:sp>
        <p:nvSpPr>
          <p:cNvPr id="17" name="Content Placeholder 15"/>
          <p:cNvSpPr txBox="1">
            <a:spLocks/>
          </p:cNvSpPr>
          <p:nvPr/>
        </p:nvSpPr>
        <p:spPr>
          <a:xfrm>
            <a:off x="3561232" y="3118392"/>
            <a:ext cx="2651498" cy="23878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110000"/>
              <a:buFont typeface="Aktiv Grotesk" panose="020B0504020202020204" pitchFamily="34" charset="0"/>
              <a:buChar char="–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110000"/>
              <a:buFont typeface="Aktiv Grotesk" panose="020B0504020202020204" pitchFamily="34" charset="0"/>
              <a:buChar char="–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Tx/>
              <a:buNone/>
              <a:defRPr sz="20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Реакция на изменения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 panose="020B0504020202020204" pitchFamily="34" charset="0"/>
              <a:ea typeface="+mn-ea"/>
              <a:cs typeface="+mn-cs"/>
            </a:endParaRPr>
          </a:p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Цифровизация</a:t>
            </a:r>
          </a:p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Рост тарифов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 panose="020B0504020202020204" pitchFamily="34" charset="0"/>
              <a:ea typeface="+mn-ea"/>
              <a:cs typeface="+mn-cs"/>
            </a:endParaRPr>
          </a:p>
          <a:p>
            <a:pPr lvl="1"/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Финансовая состоятельность</a:t>
            </a:r>
          </a:p>
          <a:p>
            <a:pPr lvl="1"/>
            <a:r>
              <a:rPr lang="ru-RU" sz="1800" dirty="0">
                <a:solidFill>
                  <a:srgbClr val="000000"/>
                </a:solidFill>
              </a:rPr>
              <a:t>Биобезопасность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 panose="020B0504020202020204" pitchFamily="34" charset="0"/>
              <a:ea typeface="+mn-ea"/>
              <a:cs typeface="+mn-cs"/>
            </a:endParaRPr>
          </a:p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Экология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 panose="020B0504020202020204" pitchFamily="34" charset="0"/>
              <a:ea typeface="+mn-ea"/>
              <a:cs typeface="+mn-cs"/>
            </a:endParaRPr>
          </a:p>
        </p:txBody>
      </p:sp>
      <p:sp>
        <p:nvSpPr>
          <p:cNvPr id="18" name="Content Placeholder 15"/>
          <p:cNvSpPr txBox="1">
            <a:spLocks/>
          </p:cNvSpPr>
          <p:nvPr/>
        </p:nvSpPr>
        <p:spPr>
          <a:xfrm>
            <a:off x="6605684" y="3118392"/>
            <a:ext cx="2651497" cy="30315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110000"/>
              <a:buFont typeface="Aktiv Grotesk" panose="020B0504020202020204" pitchFamily="34" charset="0"/>
              <a:buChar char="–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110000"/>
              <a:buFont typeface="Aktiv Grotesk" panose="020B0504020202020204" pitchFamily="34" charset="0"/>
              <a:buChar char="–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Tx/>
              <a:buNone/>
              <a:defRPr sz="20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Снижение интереса, страх</a:t>
            </a:r>
          </a:p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solidFill>
                  <a:srgbClr val="000000"/>
                </a:solidFill>
              </a:rPr>
              <a:t>Contactless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 panose="020B0504020202020204" pitchFamily="34" charset="0"/>
              <a:ea typeface="+mn-ea"/>
              <a:cs typeface="+mn-cs"/>
            </a:endParaRPr>
          </a:p>
          <a:p>
            <a:pPr lvl="1"/>
            <a:r>
              <a:rPr lang="ru-RU" sz="1800" dirty="0">
                <a:solidFill>
                  <a:srgbClr val="000000"/>
                </a:solidFill>
              </a:rPr>
              <a:t>Бизнес трафик </a:t>
            </a:r>
            <a:endParaRPr lang="en-US" sz="1800" dirty="0">
              <a:solidFill>
                <a:srgbClr val="000000"/>
              </a:solidFill>
            </a:endParaRPr>
          </a:p>
          <a:p>
            <a:pPr lvl="1"/>
            <a:r>
              <a:rPr lang="ru-RU" sz="1800" dirty="0">
                <a:solidFill>
                  <a:srgbClr val="000000"/>
                </a:solidFill>
              </a:rPr>
              <a:t>Демография</a:t>
            </a:r>
          </a:p>
          <a:p>
            <a:pPr lvl="1"/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Финансовая состоятельность</a:t>
            </a:r>
            <a:endParaRPr lang="en-US" sz="1800" dirty="0">
              <a:solidFill>
                <a:srgbClr val="000000"/>
              </a:solidFill>
            </a:endParaRPr>
          </a:p>
          <a:p>
            <a:pPr lvl="1"/>
            <a:r>
              <a:rPr lang="ru-RU" sz="1800" dirty="0">
                <a:solidFill>
                  <a:srgbClr val="000000"/>
                </a:solidFill>
              </a:rPr>
              <a:t>Биобезопасность</a:t>
            </a:r>
          </a:p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Экология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 panose="020B0504020202020204" pitchFamily="34" charset="0"/>
              <a:ea typeface="+mn-ea"/>
              <a:cs typeface="+mn-cs"/>
            </a:endParaRPr>
          </a:p>
        </p:txBody>
      </p:sp>
      <p:sp>
        <p:nvSpPr>
          <p:cNvPr id="19" name="Content Placeholder 15"/>
          <p:cNvSpPr txBox="1">
            <a:spLocks/>
          </p:cNvSpPr>
          <p:nvPr/>
        </p:nvSpPr>
        <p:spPr>
          <a:xfrm>
            <a:off x="9650135" y="3118392"/>
            <a:ext cx="2451070" cy="2754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110000"/>
              <a:buFont typeface="Aktiv Grotesk" panose="020B0504020202020204" pitchFamily="34" charset="0"/>
              <a:buChar char="–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110000"/>
              <a:buFont typeface="Aktiv Grotesk" panose="020B0504020202020204" pitchFamily="34" charset="0"/>
              <a:buChar char="–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Tx/>
              <a:buNone/>
              <a:defRPr sz="20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Новые пандемии</a:t>
            </a:r>
          </a:p>
          <a:p>
            <a:pPr lvl="1"/>
            <a:r>
              <a:rPr lang="ru-RU" sz="1800" dirty="0">
                <a:solidFill>
                  <a:srgbClr val="000000"/>
                </a:solidFill>
              </a:rPr>
              <a:t>Права пассажиров</a:t>
            </a:r>
          </a:p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PRM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 panose="020B0504020202020204" pitchFamily="34" charset="0"/>
              <a:ea typeface="+mn-ea"/>
              <a:cs typeface="+mn-cs"/>
            </a:endParaRPr>
          </a:p>
          <a:p>
            <a:pPr lvl="1"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Финансовая состоятельность</a:t>
            </a:r>
          </a:p>
          <a:p>
            <a:pPr lvl="1">
              <a:defRPr/>
            </a:pPr>
            <a:r>
              <a:rPr lang="ru-RU" sz="1800" dirty="0">
                <a:solidFill>
                  <a:srgbClr val="000000"/>
                </a:solidFill>
              </a:rPr>
              <a:t>Кибербезопасность</a:t>
            </a:r>
          </a:p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Биобезопасность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 panose="020B0504020202020204" pitchFamily="34" charset="0"/>
              <a:ea typeface="+mn-ea"/>
              <a:cs typeface="+mn-cs"/>
            </a:endParaRPr>
          </a:p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Экология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 panose="020B0504020202020204" pitchFamily="34" charset="0"/>
              <a:ea typeface="+mn-ea"/>
              <a:cs typeface="+mn-cs"/>
            </a:endParaRPr>
          </a:p>
        </p:txBody>
      </p:sp>
      <p:sp>
        <p:nvSpPr>
          <p:cNvPr id="20" name="Content Placeholder 15"/>
          <p:cNvSpPr txBox="1">
            <a:spLocks/>
          </p:cNvSpPr>
          <p:nvPr/>
        </p:nvSpPr>
        <p:spPr>
          <a:xfrm>
            <a:off x="600999" y="3118392"/>
            <a:ext cx="2567279" cy="2664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Font typeface="Arial" panose="020B0604020202020204" pitchFamily="34" charset="0"/>
              <a:buNone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110000"/>
              <a:buFont typeface="Aktiv Grotesk" panose="020B0504020202020204" pitchFamily="34" charset="0"/>
              <a:buChar char="–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SzPct val="110000"/>
              <a:buFont typeface="Aktiv Grotesk" panose="020B0504020202020204" pitchFamily="34" charset="0"/>
              <a:buChar char="–"/>
              <a:defRPr sz="2000" kern="1200">
                <a:solidFill>
                  <a:schemeClr val="tx1"/>
                </a:solidFill>
                <a:latin typeface="Aktiv Grotesk" panose="020B0504020202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0000"/>
              <a:buFontTx/>
              <a:buNone/>
              <a:defRPr sz="20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800" dirty="0">
                <a:solidFill>
                  <a:srgbClr val="000000"/>
                </a:solidFill>
              </a:rPr>
              <a:t>Финансовая устойчивость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 panose="020B0504020202020204" pitchFamily="34" charset="0"/>
              <a:ea typeface="+mn-ea"/>
              <a:cs typeface="+mn-cs"/>
            </a:endParaRPr>
          </a:p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Налогообложение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 panose="020B0504020202020204" pitchFamily="34" charset="0"/>
              <a:ea typeface="+mn-ea"/>
              <a:cs typeface="+mn-cs"/>
            </a:endParaRPr>
          </a:p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Продажа доп. услуг</a:t>
            </a:r>
          </a:p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800" dirty="0">
                <a:solidFill>
                  <a:srgbClr val="000000"/>
                </a:solidFill>
              </a:rPr>
              <a:t>Новые модели перевозок</a:t>
            </a:r>
            <a:endParaRPr lang="en-US" sz="1800" dirty="0">
              <a:solidFill>
                <a:srgbClr val="000000"/>
              </a:solidFill>
            </a:endParaRPr>
          </a:p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800" dirty="0">
                <a:solidFill>
                  <a:srgbClr val="000000"/>
                </a:solidFill>
              </a:rPr>
              <a:t>Биобезопасность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 panose="020B0504020202020204" pitchFamily="34" charset="0"/>
              <a:ea typeface="+mn-ea"/>
              <a:cs typeface="+mn-cs"/>
            </a:endParaRPr>
          </a:p>
          <a:p>
            <a:pPr marL="144000" marR="0" lvl="1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ktiv Grotesk" panose="020B0504020202020204" pitchFamily="34" charset="0"/>
                <a:ea typeface="+mn-ea"/>
                <a:cs typeface="+mn-cs"/>
              </a:rPr>
              <a:t>Экология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451913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Rectangle 1">
            <a:extLst>
              <a:ext uri="{FF2B5EF4-FFF2-40B4-BE49-F238E27FC236}">
                <a16:creationId xmlns:a16="http://schemas.microsoft.com/office/drawing/2014/main" id="{BB63EB08-6B44-43A9-9329-E1D100B5C50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5" b="187"/>
          <a:stretch/>
        </p:blipFill>
        <p:spPr>
          <a:xfrm>
            <a:off x="0" y="-9525"/>
            <a:ext cx="12224512" cy="6876288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BFC22C05-83DC-40CE-9CFB-89C2545A86C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46250" y="2838450"/>
            <a:ext cx="11036300" cy="1422400"/>
          </a:xfrm>
        </p:spPr>
        <p:txBody>
          <a:bodyPr/>
          <a:lstStyle/>
          <a:p>
            <a:r>
              <a:rPr lang="ru-RU" sz="5400" dirty="0">
                <a:solidFill>
                  <a:schemeClr val="bg1"/>
                </a:solidFill>
              </a:rPr>
              <a:t>СПАСИБО</a:t>
            </a:r>
            <a:r>
              <a:rPr lang="en-US" sz="5400" dirty="0">
                <a:solidFill>
                  <a:schemeClr val="bg1"/>
                </a:solidFill>
              </a:rPr>
              <a:t>!</a:t>
            </a:r>
            <a:endParaRPr lang="LID4096" sz="5400" dirty="0">
              <a:solidFill>
                <a:schemeClr val="bg1"/>
              </a:solidFill>
            </a:endParaRPr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CEC7AE3D-6B45-4065-A86B-48490345CB4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910325" y="5917889"/>
            <a:ext cx="900000" cy="563616"/>
          </a:xfrm>
          <a:custGeom>
            <a:avLst/>
            <a:gdLst>
              <a:gd name="T0" fmla="*/ 971 w 1920"/>
              <a:gd name="T1" fmla="*/ 446 h 1200"/>
              <a:gd name="T2" fmla="*/ 860 w 1920"/>
              <a:gd name="T3" fmla="*/ 461 h 1200"/>
              <a:gd name="T4" fmla="*/ 971 w 1920"/>
              <a:gd name="T5" fmla="*/ 12 h 1200"/>
              <a:gd name="T6" fmla="*/ 971 w 1920"/>
              <a:gd name="T7" fmla="*/ 12 h 1200"/>
              <a:gd name="T8" fmla="*/ 950 w 1920"/>
              <a:gd name="T9" fmla="*/ 137 h 1200"/>
              <a:gd name="T10" fmla="*/ 971 w 1920"/>
              <a:gd name="T11" fmla="*/ 301 h 1200"/>
              <a:gd name="T12" fmla="*/ 971 w 1920"/>
              <a:gd name="T13" fmla="*/ 424 h 1200"/>
              <a:gd name="T14" fmla="*/ 1092 w 1920"/>
              <a:gd name="T15" fmla="*/ 451 h 1200"/>
              <a:gd name="T16" fmla="*/ 1154 w 1920"/>
              <a:gd name="T17" fmla="*/ 514 h 1200"/>
              <a:gd name="T18" fmla="*/ 1154 w 1920"/>
              <a:gd name="T19" fmla="*/ 514 h 1200"/>
              <a:gd name="T20" fmla="*/ 816 w 1920"/>
              <a:gd name="T21" fmla="*/ 301 h 1200"/>
              <a:gd name="T22" fmla="*/ 660 w 1920"/>
              <a:gd name="T23" fmla="*/ 301 h 1200"/>
              <a:gd name="T24" fmla="*/ 749 w 1920"/>
              <a:gd name="T25" fmla="*/ 500 h 1200"/>
              <a:gd name="T26" fmla="*/ 839 w 1920"/>
              <a:gd name="T27" fmla="*/ 470 h 1200"/>
              <a:gd name="T28" fmla="*/ 971 w 1920"/>
              <a:gd name="T29" fmla="*/ 158 h 1200"/>
              <a:gd name="T30" fmla="*/ 1071 w 1920"/>
              <a:gd name="T31" fmla="*/ 139 h 1200"/>
              <a:gd name="T32" fmla="*/ 1127 w 1920"/>
              <a:gd name="T33" fmla="*/ 280 h 1200"/>
              <a:gd name="T34" fmla="*/ 1260 w 1920"/>
              <a:gd name="T35" fmla="*/ 280 h 1200"/>
              <a:gd name="T36" fmla="*/ 990 w 1920"/>
              <a:gd name="T37" fmla="*/ 0 h 1200"/>
              <a:gd name="T38" fmla="*/ 950 w 1920"/>
              <a:gd name="T39" fmla="*/ 280 h 1200"/>
              <a:gd name="T40" fmla="*/ 950 w 1920"/>
              <a:gd name="T41" fmla="*/ 158 h 1200"/>
              <a:gd name="T42" fmla="*/ 829 w 1920"/>
              <a:gd name="T43" fmla="*/ 131 h 1200"/>
              <a:gd name="T44" fmla="*/ 765 w 1920"/>
              <a:gd name="T45" fmla="*/ 67 h 1200"/>
              <a:gd name="T46" fmla="*/ 765 w 1920"/>
              <a:gd name="T47" fmla="*/ 67 h 1200"/>
              <a:gd name="T48" fmla="*/ 849 w 1920"/>
              <a:gd name="T49" fmla="*/ 646 h 1200"/>
              <a:gd name="T50" fmla="*/ 282 w 1920"/>
              <a:gd name="T51" fmla="*/ 671 h 1200"/>
              <a:gd name="T52" fmla="*/ 289 w 1920"/>
              <a:gd name="T53" fmla="*/ 650 h 1200"/>
              <a:gd name="T54" fmla="*/ 565 w 1920"/>
              <a:gd name="T55" fmla="*/ 556 h 1200"/>
              <a:gd name="T56" fmla="*/ 515 w 1920"/>
              <a:gd name="T57" fmla="*/ 483 h 1200"/>
              <a:gd name="T58" fmla="*/ 0 w 1920"/>
              <a:gd name="T59" fmla="*/ 388 h 1200"/>
              <a:gd name="T60" fmla="*/ 1071 w 1920"/>
              <a:gd name="T61" fmla="*/ 646 h 1200"/>
              <a:gd name="T62" fmla="*/ 1638 w 1920"/>
              <a:gd name="T63" fmla="*/ 671 h 1200"/>
              <a:gd name="T64" fmla="*/ 1631 w 1920"/>
              <a:gd name="T65" fmla="*/ 650 h 1200"/>
              <a:gd name="T66" fmla="*/ 1355 w 1920"/>
              <a:gd name="T67" fmla="*/ 556 h 1200"/>
              <a:gd name="T68" fmla="*/ 1405 w 1920"/>
              <a:gd name="T69" fmla="*/ 483 h 1200"/>
              <a:gd name="T70" fmla="*/ 1920 w 1920"/>
              <a:gd name="T71" fmla="*/ 388 h 1200"/>
              <a:gd name="T72" fmla="*/ 1563 w 1920"/>
              <a:gd name="T73" fmla="*/ 819 h 1200"/>
              <a:gd name="T74" fmla="*/ 1518 w 1920"/>
              <a:gd name="T75" fmla="*/ 1155 h 1200"/>
              <a:gd name="T76" fmla="*/ 1245 w 1920"/>
              <a:gd name="T77" fmla="*/ 1200 h 1200"/>
              <a:gd name="T78" fmla="*/ 1483 w 1920"/>
              <a:gd name="T79" fmla="*/ 936 h 1200"/>
              <a:gd name="T80" fmla="*/ 1038 w 1920"/>
              <a:gd name="T81" fmla="*/ 914 h 1200"/>
              <a:gd name="T82" fmla="*/ 1289 w 1920"/>
              <a:gd name="T83" fmla="*/ 817 h 1200"/>
              <a:gd name="T84" fmla="*/ 1120 w 1920"/>
              <a:gd name="T85" fmla="*/ 1200 h 1200"/>
              <a:gd name="T86" fmla="*/ 672 w 1920"/>
              <a:gd name="T87" fmla="*/ 819 h 1200"/>
              <a:gd name="T88" fmla="*/ 759 w 1920"/>
              <a:gd name="T89" fmla="*/ 1200 h 1200"/>
              <a:gd name="T90" fmla="*/ 606 w 1920"/>
              <a:gd name="T91" fmla="*/ 1200 h 1200"/>
              <a:gd name="T92" fmla="*/ 739 w 1920"/>
              <a:gd name="T93" fmla="*/ 1075 h 1200"/>
              <a:gd name="T94" fmla="*/ 273 w 1920"/>
              <a:gd name="T95" fmla="*/ 1200 h 1200"/>
              <a:gd name="T96" fmla="*/ 401 w 1920"/>
              <a:gd name="T97" fmla="*/ 120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920" h="1200">
                <a:moveTo>
                  <a:pt x="971" y="571"/>
                </a:moveTo>
                <a:cubicBezTo>
                  <a:pt x="1007" y="542"/>
                  <a:pt x="1039" y="503"/>
                  <a:pt x="1060" y="461"/>
                </a:cubicBezTo>
                <a:cubicBezTo>
                  <a:pt x="1032" y="452"/>
                  <a:pt x="1001" y="446"/>
                  <a:pt x="971" y="446"/>
                </a:cubicBezTo>
                <a:lnTo>
                  <a:pt x="971" y="571"/>
                </a:lnTo>
                <a:close/>
                <a:moveTo>
                  <a:pt x="950" y="569"/>
                </a:moveTo>
                <a:cubicBezTo>
                  <a:pt x="913" y="542"/>
                  <a:pt x="881" y="503"/>
                  <a:pt x="860" y="461"/>
                </a:cubicBezTo>
                <a:cubicBezTo>
                  <a:pt x="888" y="451"/>
                  <a:pt x="919" y="446"/>
                  <a:pt x="950" y="446"/>
                </a:cubicBezTo>
                <a:lnTo>
                  <a:pt x="950" y="569"/>
                </a:lnTo>
                <a:close/>
                <a:moveTo>
                  <a:pt x="971" y="12"/>
                </a:moveTo>
                <a:cubicBezTo>
                  <a:pt x="1007" y="41"/>
                  <a:pt x="1039" y="79"/>
                  <a:pt x="1060" y="120"/>
                </a:cubicBezTo>
                <a:cubicBezTo>
                  <a:pt x="1032" y="130"/>
                  <a:pt x="1001" y="137"/>
                  <a:pt x="971" y="137"/>
                </a:cubicBezTo>
                <a:lnTo>
                  <a:pt x="971" y="12"/>
                </a:lnTo>
                <a:close/>
                <a:moveTo>
                  <a:pt x="950" y="12"/>
                </a:moveTo>
                <a:cubicBezTo>
                  <a:pt x="913" y="41"/>
                  <a:pt x="881" y="80"/>
                  <a:pt x="860" y="120"/>
                </a:cubicBezTo>
                <a:cubicBezTo>
                  <a:pt x="888" y="129"/>
                  <a:pt x="919" y="137"/>
                  <a:pt x="950" y="137"/>
                </a:cubicBezTo>
                <a:lnTo>
                  <a:pt x="950" y="12"/>
                </a:lnTo>
                <a:close/>
                <a:moveTo>
                  <a:pt x="971" y="424"/>
                </a:moveTo>
                <a:cubicBezTo>
                  <a:pt x="971" y="301"/>
                  <a:pt x="971" y="301"/>
                  <a:pt x="971" y="301"/>
                </a:cubicBezTo>
                <a:cubicBezTo>
                  <a:pt x="1104" y="301"/>
                  <a:pt x="1104" y="301"/>
                  <a:pt x="1104" y="301"/>
                </a:cubicBezTo>
                <a:cubicBezTo>
                  <a:pt x="1104" y="350"/>
                  <a:pt x="1092" y="398"/>
                  <a:pt x="1071" y="443"/>
                </a:cubicBezTo>
                <a:cubicBezTo>
                  <a:pt x="1040" y="432"/>
                  <a:pt x="1004" y="424"/>
                  <a:pt x="971" y="424"/>
                </a:cubicBezTo>
                <a:moveTo>
                  <a:pt x="1260" y="301"/>
                </a:moveTo>
                <a:cubicBezTo>
                  <a:pt x="1127" y="301"/>
                  <a:pt x="1127" y="301"/>
                  <a:pt x="1127" y="301"/>
                </a:cubicBezTo>
                <a:cubicBezTo>
                  <a:pt x="1125" y="355"/>
                  <a:pt x="1114" y="403"/>
                  <a:pt x="1092" y="451"/>
                </a:cubicBezTo>
                <a:cubicBezTo>
                  <a:pt x="1120" y="464"/>
                  <a:pt x="1146" y="480"/>
                  <a:pt x="1171" y="500"/>
                </a:cubicBezTo>
                <a:cubicBezTo>
                  <a:pt x="1225" y="447"/>
                  <a:pt x="1257" y="375"/>
                  <a:pt x="1260" y="301"/>
                </a:cubicBezTo>
                <a:moveTo>
                  <a:pt x="1154" y="514"/>
                </a:moveTo>
                <a:cubicBezTo>
                  <a:pt x="1133" y="496"/>
                  <a:pt x="1107" y="480"/>
                  <a:pt x="1081" y="470"/>
                </a:cubicBezTo>
                <a:cubicBezTo>
                  <a:pt x="1057" y="513"/>
                  <a:pt x="1028" y="549"/>
                  <a:pt x="990" y="582"/>
                </a:cubicBezTo>
                <a:cubicBezTo>
                  <a:pt x="1051" y="574"/>
                  <a:pt x="1107" y="552"/>
                  <a:pt x="1154" y="514"/>
                </a:cubicBezTo>
                <a:moveTo>
                  <a:pt x="950" y="424"/>
                </a:moveTo>
                <a:cubicBezTo>
                  <a:pt x="950" y="301"/>
                  <a:pt x="950" y="301"/>
                  <a:pt x="950" y="301"/>
                </a:cubicBezTo>
                <a:cubicBezTo>
                  <a:pt x="816" y="301"/>
                  <a:pt x="816" y="301"/>
                  <a:pt x="816" y="301"/>
                </a:cubicBezTo>
                <a:cubicBezTo>
                  <a:pt x="817" y="350"/>
                  <a:pt x="828" y="399"/>
                  <a:pt x="849" y="443"/>
                </a:cubicBezTo>
                <a:cubicBezTo>
                  <a:pt x="881" y="432"/>
                  <a:pt x="915" y="424"/>
                  <a:pt x="950" y="424"/>
                </a:cubicBezTo>
                <a:moveTo>
                  <a:pt x="660" y="301"/>
                </a:moveTo>
                <a:cubicBezTo>
                  <a:pt x="793" y="301"/>
                  <a:pt x="793" y="301"/>
                  <a:pt x="793" y="301"/>
                </a:cubicBezTo>
                <a:cubicBezTo>
                  <a:pt x="796" y="355"/>
                  <a:pt x="808" y="402"/>
                  <a:pt x="829" y="451"/>
                </a:cubicBezTo>
                <a:cubicBezTo>
                  <a:pt x="800" y="464"/>
                  <a:pt x="774" y="480"/>
                  <a:pt x="749" y="500"/>
                </a:cubicBezTo>
                <a:cubicBezTo>
                  <a:pt x="695" y="447"/>
                  <a:pt x="664" y="377"/>
                  <a:pt x="660" y="301"/>
                </a:cubicBezTo>
                <a:moveTo>
                  <a:pt x="765" y="514"/>
                </a:moveTo>
                <a:cubicBezTo>
                  <a:pt x="788" y="497"/>
                  <a:pt x="813" y="479"/>
                  <a:pt x="839" y="470"/>
                </a:cubicBezTo>
                <a:cubicBezTo>
                  <a:pt x="863" y="513"/>
                  <a:pt x="892" y="549"/>
                  <a:pt x="930" y="582"/>
                </a:cubicBezTo>
                <a:cubicBezTo>
                  <a:pt x="869" y="574"/>
                  <a:pt x="812" y="552"/>
                  <a:pt x="765" y="514"/>
                </a:cubicBezTo>
                <a:moveTo>
                  <a:pt x="971" y="158"/>
                </a:moveTo>
                <a:cubicBezTo>
                  <a:pt x="971" y="280"/>
                  <a:pt x="971" y="280"/>
                  <a:pt x="971" y="280"/>
                </a:cubicBezTo>
                <a:cubicBezTo>
                  <a:pt x="1104" y="280"/>
                  <a:pt x="1104" y="280"/>
                  <a:pt x="1104" y="280"/>
                </a:cubicBezTo>
                <a:cubicBezTo>
                  <a:pt x="1104" y="231"/>
                  <a:pt x="1092" y="184"/>
                  <a:pt x="1071" y="139"/>
                </a:cubicBezTo>
                <a:cubicBezTo>
                  <a:pt x="1039" y="150"/>
                  <a:pt x="1005" y="157"/>
                  <a:pt x="971" y="158"/>
                </a:cubicBezTo>
                <a:moveTo>
                  <a:pt x="1260" y="280"/>
                </a:moveTo>
                <a:cubicBezTo>
                  <a:pt x="1127" y="280"/>
                  <a:pt x="1127" y="280"/>
                  <a:pt x="1127" y="280"/>
                </a:cubicBezTo>
                <a:cubicBezTo>
                  <a:pt x="1125" y="227"/>
                  <a:pt x="1113" y="178"/>
                  <a:pt x="1092" y="131"/>
                </a:cubicBezTo>
                <a:cubicBezTo>
                  <a:pt x="1120" y="118"/>
                  <a:pt x="1147" y="102"/>
                  <a:pt x="1171" y="82"/>
                </a:cubicBezTo>
                <a:cubicBezTo>
                  <a:pt x="1228" y="138"/>
                  <a:pt x="1257" y="207"/>
                  <a:pt x="1260" y="280"/>
                </a:cubicBezTo>
                <a:moveTo>
                  <a:pt x="1154" y="67"/>
                </a:moveTo>
                <a:cubicBezTo>
                  <a:pt x="1133" y="86"/>
                  <a:pt x="1107" y="103"/>
                  <a:pt x="1081" y="113"/>
                </a:cubicBezTo>
                <a:cubicBezTo>
                  <a:pt x="1057" y="68"/>
                  <a:pt x="1028" y="33"/>
                  <a:pt x="990" y="0"/>
                </a:cubicBezTo>
                <a:cubicBezTo>
                  <a:pt x="1051" y="7"/>
                  <a:pt x="1107" y="30"/>
                  <a:pt x="1154" y="67"/>
                </a:cubicBezTo>
                <a:moveTo>
                  <a:pt x="950" y="158"/>
                </a:moveTo>
                <a:cubicBezTo>
                  <a:pt x="950" y="280"/>
                  <a:pt x="950" y="280"/>
                  <a:pt x="950" y="280"/>
                </a:cubicBezTo>
                <a:cubicBezTo>
                  <a:pt x="816" y="280"/>
                  <a:pt x="816" y="280"/>
                  <a:pt x="816" y="280"/>
                </a:cubicBezTo>
                <a:cubicBezTo>
                  <a:pt x="817" y="232"/>
                  <a:pt x="828" y="183"/>
                  <a:pt x="849" y="139"/>
                </a:cubicBezTo>
                <a:cubicBezTo>
                  <a:pt x="881" y="150"/>
                  <a:pt x="915" y="157"/>
                  <a:pt x="950" y="158"/>
                </a:cubicBezTo>
                <a:moveTo>
                  <a:pt x="660" y="280"/>
                </a:moveTo>
                <a:cubicBezTo>
                  <a:pt x="793" y="280"/>
                  <a:pt x="793" y="280"/>
                  <a:pt x="793" y="280"/>
                </a:cubicBezTo>
                <a:cubicBezTo>
                  <a:pt x="796" y="227"/>
                  <a:pt x="808" y="179"/>
                  <a:pt x="829" y="131"/>
                </a:cubicBezTo>
                <a:cubicBezTo>
                  <a:pt x="800" y="118"/>
                  <a:pt x="774" y="103"/>
                  <a:pt x="749" y="82"/>
                </a:cubicBezTo>
                <a:cubicBezTo>
                  <a:pt x="694" y="136"/>
                  <a:pt x="664" y="205"/>
                  <a:pt x="660" y="280"/>
                </a:cubicBezTo>
                <a:moveTo>
                  <a:pt x="765" y="67"/>
                </a:moveTo>
                <a:cubicBezTo>
                  <a:pt x="788" y="86"/>
                  <a:pt x="812" y="103"/>
                  <a:pt x="839" y="113"/>
                </a:cubicBezTo>
                <a:cubicBezTo>
                  <a:pt x="862" y="69"/>
                  <a:pt x="893" y="32"/>
                  <a:pt x="930" y="0"/>
                </a:cubicBezTo>
                <a:cubicBezTo>
                  <a:pt x="869" y="7"/>
                  <a:pt x="813" y="30"/>
                  <a:pt x="765" y="67"/>
                </a:cubicBezTo>
                <a:moveTo>
                  <a:pt x="0" y="388"/>
                </a:moveTo>
                <a:cubicBezTo>
                  <a:pt x="600" y="388"/>
                  <a:pt x="600" y="388"/>
                  <a:pt x="600" y="388"/>
                </a:cubicBezTo>
                <a:cubicBezTo>
                  <a:pt x="622" y="495"/>
                  <a:pt x="698" y="584"/>
                  <a:pt x="849" y="646"/>
                </a:cubicBezTo>
                <a:cubicBezTo>
                  <a:pt x="832" y="697"/>
                  <a:pt x="773" y="744"/>
                  <a:pt x="712" y="744"/>
                </a:cubicBezTo>
                <a:cubicBezTo>
                  <a:pt x="387" y="744"/>
                  <a:pt x="387" y="744"/>
                  <a:pt x="387" y="744"/>
                </a:cubicBezTo>
                <a:cubicBezTo>
                  <a:pt x="337" y="744"/>
                  <a:pt x="298" y="703"/>
                  <a:pt x="282" y="671"/>
                </a:cubicBezTo>
                <a:cubicBezTo>
                  <a:pt x="613" y="671"/>
                  <a:pt x="613" y="671"/>
                  <a:pt x="613" y="671"/>
                </a:cubicBezTo>
                <a:cubicBezTo>
                  <a:pt x="633" y="668"/>
                  <a:pt x="634" y="652"/>
                  <a:pt x="614" y="650"/>
                </a:cubicBezTo>
                <a:cubicBezTo>
                  <a:pt x="289" y="650"/>
                  <a:pt x="289" y="650"/>
                  <a:pt x="289" y="650"/>
                </a:cubicBezTo>
                <a:cubicBezTo>
                  <a:pt x="247" y="650"/>
                  <a:pt x="209" y="615"/>
                  <a:pt x="187" y="577"/>
                </a:cubicBezTo>
                <a:cubicBezTo>
                  <a:pt x="565" y="577"/>
                  <a:pt x="565" y="577"/>
                  <a:pt x="565" y="577"/>
                </a:cubicBezTo>
                <a:cubicBezTo>
                  <a:pt x="584" y="574"/>
                  <a:pt x="584" y="558"/>
                  <a:pt x="565" y="556"/>
                </a:cubicBezTo>
                <a:cubicBezTo>
                  <a:pt x="184" y="556"/>
                  <a:pt x="184" y="556"/>
                  <a:pt x="184" y="556"/>
                </a:cubicBezTo>
                <a:cubicBezTo>
                  <a:pt x="146" y="556"/>
                  <a:pt x="111" y="512"/>
                  <a:pt x="96" y="483"/>
                </a:cubicBezTo>
                <a:cubicBezTo>
                  <a:pt x="515" y="483"/>
                  <a:pt x="515" y="483"/>
                  <a:pt x="515" y="483"/>
                </a:cubicBezTo>
                <a:cubicBezTo>
                  <a:pt x="536" y="480"/>
                  <a:pt x="536" y="461"/>
                  <a:pt x="515" y="460"/>
                </a:cubicBezTo>
                <a:cubicBezTo>
                  <a:pt x="89" y="460"/>
                  <a:pt x="89" y="460"/>
                  <a:pt x="89" y="460"/>
                </a:cubicBezTo>
                <a:cubicBezTo>
                  <a:pt x="55" y="460"/>
                  <a:pt x="23" y="425"/>
                  <a:pt x="0" y="388"/>
                </a:cubicBezTo>
                <a:moveTo>
                  <a:pt x="1920" y="388"/>
                </a:moveTo>
                <a:cubicBezTo>
                  <a:pt x="1320" y="388"/>
                  <a:pt x="1320" y="388"/>
                  <a:pt x="1320" y="388"/>
                </a:cubicBezTo>
                <a:cubicBezTo>
                  <a:pt x="1298" y="495"/>
                  <a:pt x="1222" y="584"/>
                  <a:pt x="1071" y="646"/>
                </a:cubicBezTo>
                <a:cubicBezTo>
                  <a:pt x="1088" y="697"/>
                  <a:pt x="1147" y="744"/>
                  <a:pt x="1208" y="744"/>
                </a:cubicBezTo>
                <a:cubicBezTo>
                  <a:pt x="1533" y="744"/>
                  <a:pt x="1533" y="744"/>
                  <a:pt x="1533" y="744"/>
                </a:cubicBezTo>
                <a:cubicBezTo>
                  <a:pt x="1583" y="744"/>
                  <a:pt x="1622" y="703"/>
                  <a:pt x="1638" y="671"/>
                </a:cubicBezTo>
                <a:cubicBezTo>
                  <a:pt x="1307" y="671"/>
                  <a:pt x="1307" y="671"/>
                  <a:pt x="1307" y="671"/>
                </a:cubicBezTo>
                <a:cubicBezTo>
                  <a:pt x="1287" y="668"/>
                  <a:pt x="1286" y="652"/>
                  <a:pt x="1306" y="650"/>
                </a:cubicBezTo>
                <a:cubicBezTo>
                  <a:pt x="1631" y="650"/>
                  <a:pt x="1631" y="650"/>
                  <a:pt x="1631" y="650"/>
                </a:cubicBezTo>
                <a:cubicBezTo>
                  <a:pt x="1673" y="650"/>
                  <a:pt x="1711" y="615"/>
                  <a:pt x="1733" y="577"/>
                </a:cubicBezTo>
                <a:cubicBezTo>
                  <a:pt x="1355" y="577"/>
                  <a:pt x="1355" y="577"/>
                  <a:pt x="1355" y="577"/>
                </a:cubicBezTo>
                <a:cubicBezTo>
                  <a:pt x="1336" y="574"/>
                  <a:pt x="1336" y="558"/>
                  <a:pt x="1355" y="556"/>
                </a:cubicBezTo>
                <a:cubicBezTo>
                  <a:pt x="1736" y="556"/>
                  <a:pt x="1736" y="556"/>
                  <a:pt x="1736" y="556"/>
                </a:cubicBezTo>
                <a:cubicBezTo>
                  <a:pt x="1774" y="556"/>
                  <a:pt x="1809" y="512"/>
                  <a:pt x="1824" y="483"/>
                </a:cubicBezTo>
                <a:cubicBezTo>
                  <a:pt x="1405" y="483"/>
                  <a:pt x="1405" y="483"/>
                  <a:pt x="1405" y="483"/>
                </a:cubicBezTo>
                <a:cubicBezTo>
                  <a:pt x="1384" y="480"/>
                  <a:pt x="1384" y="461"/>
                  <a:pt x="1405" y="460"/>
                </a:cubicBezTo>
                <a:cubicBezTo>
                  <a:pt x="1831" y="460"/>
                  <a:pt x="1831" y="460"/>
                  <a:pt x="1831" y="460"/>
                </a:cubicBezTo>
                <a:cubicBezTo>
                  <a:pt x="1865" y="460"/>
                  <a:pt x="1897" y="425"/>
                  <a:pt x="1920" y="388"/>
                </a:cubicBezTo>
                <a:moveTo>
                  <a:pt x="1245" y="1200"/>
                </a:moveTo>
                <a:cubicBezTo>
                  <a:pt x="1437" y="819"/>
                  <a:pt x="1437" y="819"/>
                  <a:pt x="1437" y="819"/>
                </a:cubicBezTo>
                <a:cubicBezTo>
                  <a:pt x="1563" y="819"/>
                  <a:pt x="1563" y="819"/>
                  <a:pt x="1563" y="819"/>
                </a:cubicBezTo>
                <a:cubicBezTo>
                  <a:pt x="1643" y="1200"/>
                  <a:pt x="1643" y="1200"/>
                  <a:pt x="1643" y="1200"/>
                </a:cubicBezTo>
                <a:cubicBezTo>
                  <a:pt x="1523" y="1200"/>
                  <a:pt x="1523" y="1200"/>
                  <a:pt x="1523" y="1200"/>
                </a:cubicBezTo>
                <a:cubicBezTo>
                  <a:pt x="1518" y="1155"/>
                  <a:pt x="1518" y="1155"/>
                  <a:pt x="1518" y="1155"/>
                </a:cubicBezTo>
                <a:cubicBezTo>
                  <a:pt x="1392" y="1155"/>
                  <a:pt x="1392" y="1155"/>
                  <a:pt x="1392" y="1155"/>
                </a:cubicBezTo>
                <a:cubicBezTo>
                  <a:pt x="1371" y="1200"/>
                  <a:pt x="1371" y="1200"/>
                  <a:pt x="1371" y="1200"/>
                </a:cubicBezTo>
                <a:lnTo>
                  <a:pt x="1245" y="1200"/>
                </a:lnTo>
                <a:close/>
                <a:moveTo>
                  <a:pt x="1423" y="1075"/>
                </a:moveTo>
                <a:cubicBezTo>
                  <a:pt x="1504" y="1075"/>
                  <a:pt x="1504" y="1075"/>
                  <a:pt x="1504" y="1075"/>
                </a:cubicBezTo>
                <a:cubicBezTo>
                  <a:pt x="1483" y="936"/>
                  <a:pt x="1483" y="936"/>
                  <a:pt x="1483" y="936"/>
                </a:cubicBezTo>
                <a:lnTo>
                  <a:pt x="1423" y="1075"/>
                </a:lnTo>
                <a:close/>
                <a:moveTo>
                  <a:pt x="994" y="1200"/>
                </a:moveTo>
                <a:cubicBezTo>
                  <a:pt x="1038" y="914"/>
                  <a:pt x="1038" y="914"/>
                  <a:pt x="1038" y="914"/>
                </a:cubicBezTo>
                <a:cubicBezTo>
                  <a:pt x="927" y="914"/>
                  <a:pt x="927" y="914"/>
                  <a:pt x="927" y="914"/>
                </a:cubicBezTo>
                <a:cubicBezTo>
                  <a:pt x="946" y="817"/>
                  <a:pt x="946" y="817"/>
                  <a:pt x="946" y="817"/>
                </a:cubicBezTo>
                <a:cubicBezTo>
                  <a:pt x="1289" y="817"/>
                  <a:pt x="1289" y="817"/>
                  <a:pt x="1289" y="817"/>
                </a:cubicBezTo>
                <a:cubicBezTo>
                  <a:pt x="1269" y="914"/>
                  <a:pt x="1269" y="914"/>
                  <a:pt x="1269" y="914"/>
                </a:cubicBezTo>
                <a:cubicBezTo>
                  <a:pt x="1163" y="914"/>
                  <a:pt x="1163" y="914"/>
                  <a:pt x="1163" y="914"/>
                </a:cubicBezTo>
                <a:cubicBezTo>
                  <a:pt x="1120" y="1200"/>
                  <a:pt x="1120" y="1200"/>
                  <a:pt x="1120" y="1200"/>
                </a:cubicBezTo>
                <a:lnTo>
                  <a:pt x="994" y="1200"/>
                </a:lnTo>
                <a:close/>
                <a:moveTo>
                  <a:pt x="479" y="1200"/>
                </a:moveTo>
                <a:cubicBezTo>
                  <a:pt x="672" y="819"/>
                  <a:pt x="672" y="819"/>
                  <a:pt x="672" y="819"/>
                </a:cubicBezTo>
                <a:cubicBezTo>
                  <a:pt x="798" y="819"/>
                  <a:pt x="798" y="819"/>
                  <a:pt x="798" y="819"/>
                </a:cubicBezTo>
                <a:cubicBezTo>
                  <a:pt x="877" y="1200"/>
                  <a:pt x="877" y="1200"/>
                  <a:pt x="877" y="1200"/>
                </a:cubicBezTo>
                <a:cubicBezTo>
                  <a:pt x="759" y="1200"/>
                  <a:pt x="759" y="1200"/>
                  <a:pt x="759" y="1200"/>
                </a:cubicBezTo>
                <a:cubicBezTo>
                  <a:pt x="752" y="1155"/>
                  <a:pt x="752" y="1155"/>
                  <a:pt x="752" y="1155"/>
                </a:cubicBezTo>
                <a:cubicBezTo>
                  <a:pt x="626" y="1155"/>
                  <a:pt x="626" y="1155"/>
                  <a:pt x="626" y="1155"/>
                </a:cubicBezTo>
                <a:cubicBezTo>
                  <a:pt x="606" y="1200"/>
                  <a:pt x="606" y="1200"/>
                  <a:pt x="606" y="1200"/>
                </a:cubicBezTo>
                <a:lnTo>
                  <a:pt x="479" y="1200"/>
                </a:lnTo>
                <a:close/>
                <a:moveTo>
                  <a:pt x="657" y="1075"/>
                </a:moveTo>
                <a:cubicBezTo>
                  <a:pt x="739" y="1075"/>
                  <a:pt x="739" y="1075"/>
                  <a:pt x="739" y="1075"/>
                </a:cubicBezTo>
                <a:cubicBezTo>
                  <a:pt x="717" y="936"/>
                  <a:pt x="717" y="936"/>
                  <a:pt x="717" y="936"/>
                </a:cubicBezTo>
                <a:lnTo>
                  <a:pt x="657" y="1075"/>
                </a:lnTo>
                <a:close/>
                <a:moveTo>
                  <a:pt x="273" y="1200"/>
                </a:moveTo>
                <a:cubicBezTo>
                  <a:pt x="351" y="819"/>
                  <a:pt x="351" y="819"/>
                  <a:pt x="351" y="819"/>
                </a:cubicBezTo>
                <a:cubicBezTo>
                  <a:pt x="479" y="819"/>
                  <a:pt x="479" y="819"/>
                  <a:pt x="479" y="819"/>
                </a:cubicBezTo>
                <a:cubicBezTo>
                  <a:pt x="401" y="1200"/>
                  <a:pt x="401" y="1200"/>
                  <a:pt x="401" y="1200"/>
                </a:cubicBezTo>
                <a:lnTo>
                  <a:pt x="273" y="12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ktiv Grotes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57850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0C35B53-753B-424E-B7AB-27965DE43C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4434" y="2286000"/>
            <a:ext cx="5486400" cy="2286000"/>
          </a:xfrm>
        </p:spPr>
        <p:txBody>
          <a:bodyPr/>
          <a:lstStyle/>
          <a:p>
            <a:r>
              <a:rPr lang="en-US" dirty="0"/>
              <a:t>SOS</a:t>
            </a:r>
            <a:r>
              <a:rPr lang="ru-RU" dirty="0" err="1"/>
              <a:t>тояние</a:t>
            </a:r>
            <a:br>
              <a:rPr lang="ru-RU" dirty="0"/>
            </a:br>
            <a:r>
              <a:rPr lang="ru-RU" dirty="0"/>
              <a:t>отрасли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35B0D6-44B3-459B-8977-A4000BB5D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18B75B-45BB-9C4B-9E16-0D1DF46F8DB3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1633583-DD23-44C6-9B2D-30FA0A98D4A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pic>
        <p:nvPicPr>
          <p:cNvPr id="9" name="Picture Placeholder 8" descr="A close up of a camera&#10;&#10;Description automatically generated">
            <a:extLst>
              <a:ext uri="{FF2B5EF4-FFF2-40B4-BE49-F238E27FC236}">
                <a16:creationId xmlns:a16="http://schemas.microsoft.com/office/drawing/2014/main" id="{C2120E61-F06D-40A6-9B6A-008B0D6D7F9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3" cstate="hq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0"/>
            <a:ext cx="6096303" cy="6858000"/>
          </a:xfrm>
        </p:spPr>
      </p:pic>
    </p:spTree>
    <p:extLst>
      <p:ext uri="{BB962C8B-B14F-4D97-AF65-F5344CB8AC3E}">
        <p14:creationId xmlns:p14="http://schemas.microsoft.com/office/powerpoint/2010/main" val="18885733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3A81B4-52E1-416B-8D89-96AEACC196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876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B3A81B4-52E1-416B-8D89-96AEACC196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7BDF6FF-B0B8-477A-9E99-C2366BE69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847" y="256418"/>
            <a:ext cx="12016154" cy="1258057"/>
          </a:xfrm>
        </p:spPr>
        <p:txBody>
          <a:bodyPr vert="horz"/>
          <a:lstStyle/>
          <a:p>
            <a:r>
              <a:rPr lang="tr-TR" sz="3200" dirty="0"/>
              <a:t>COVID-19 </a:t>
            </a:r>
            <a:r>
              <a:rPr lang="ru-RU" sz="3200" dirty="0"/>
              <a:t>стал самым крупным и затяжным «ударом» по гражданской авиации.</a:t>
            </a:r>
            <a:br>
              <a:rPr lang="ru-RU" sz="3200" dirty="0"/>
            </a:br>
            <a:r>
              <a:rPr lang="ru-RU" sz="2400" dirty="0"/>
              <a:t>Предыдущие кризисы приводили к потерям </a:t>
            </a:r>
            <a:r>
              <a:rPr lang="en-US" sz="2400" dirty="0"/>
              <a:t>5-20% </a:t>
            </a:r>
            <a:r>
              <a:rPr lang="ru-RU" sz="2400" dirty="0"/>
              <a:t>и длились</a:t>
            </a:r>
            <a:r>
              <a:rPr lang="en-US" sz="2400" dirty="0"/>
              <a:t> 6-18 </a:t>
            </a:r>
            <a:r>
              <a:rPr lang="ru-RU" sz="2400" dirty="0"/>
              <a:t>месяцев.</a:t>
            </a:r>
            <a:endParaRPr lang="en-US" sz="3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4D5B60-1032-4888-82BD-90867F19154C}"/>
              </a:ext>
            </a:extLst>
          </p:cNvPr>
          <p:cNvSpPr txBox="1"/>
          <p:nvPr/>
        </p:nvSpPr>
        <p:spPr>
          <a:xfrm>
            <a:off x="66953" y="6550223"/>
            <a:ext cx="95518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Источник</a:t>
            </a:r>
            <a:r>
              <a:rPr lang="en-US" sz="1400" dirty="0"/>
              <a:t>: IATA Economics using data from IATA Monthly Statistics. Data is adjusted for seasonality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2574F1A-7E23-49D8-8601-331F7009E4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4457" y="1557337"/>
            <a:ext cx="9917354" cy="4950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68925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3A81B4-52E1-416B-8D89-96AEACC196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1523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B3A81B4-52E1-416B-8D89-96AEACC196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7BDF6FF-B0B8-477A-9E99-C2366BE69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43" y="256419"/>
            <a:ext cx="11934857" cy="983228"/>
          </a:xfrm>
        </p:spPr>
        <p:txBody>
          <a:bodyPr vert="horz"/>
          <a:lstStyle/>
          <a:p>
            <a:r>
              <a:rPr lang="ru-RU" sz="3600" dirty="0"/>
              <a:t>Восстановление экономики способствует росту грузовых перевозок и ВВЛ</a:t>
            </a:r>
            <a:br>
              <a:rPr lang="en-US" sz="3600" dirty="0"/>
            </a:br>
            <a:r>
              <a:rPr lang="ru-RU" sz="2800" dirty="0"/>
              <a:t>МВЛ </a:t>
            </a:r>
            <a:r>
              <a:rPr lang="en-US" sz="2800" dirty="0"/>
              <a:t>-</a:t>
            </a:r>
            <a:r>
              <a:rPr lang="ru-RU" sz="2800" dirty="0"/>
              <a:t> </a:t>
            </a:r>
            <a:r>
              <a:rPr lang="en-US" sz="2800" dirty="0"/>
              <a:t>68.8%, </a:t>
            </a:r>
            <a:r>
              <a:rPr lang="ru-RU" sz="2800" dirty="0"/>
              <a:t>ВВЛ </a:t>
            </a:r>
            <a:r>
              <a:rPr lang="en-US" sz="2800" dirty="0"/>
              <a:t>-</a:t>
            </a:r>
            <a:r>
              <a:rPr lang="ru-RU" sz="2800" dirty="0"/>
              <a:t> </a:t>
            </a:r>
            <a:r>
              <a:rPr lang="en-US" sz="2800" dirty="0"/>
              <a:t>32.2%, </a:t>
            </a:r>
            <a:r>
              <a:rPr lang="ru-RU" sz="2800" dirty="0"/>
              <a:t>Карго</a:t>
            </a:r>
            <a:r>
              <a:rPr lang="en-US" sz="2800" dirty="0"/>
              <a:t> +7.7% (</a:t>
            </a:r>
            <a:r>
              <a:rPr lang="ru-RU" sz="2800" dirty="0"/>
              <a:t>Август</a:t>
            </a:r>
            <a:r>
              <a:rPr lang="en-US" sz="2800" dirty="0"/>
              <a:t> </a:t>
            </a:r>
            <a:r>
              <a:rPr lang="ru-RU" sz="2800" dirty="0"/>
              <a:t>20</a:t>
            </a:r>
            <a:r>
              <a:rPr lang="en-US" sz="2800" dirty="0"/>
              <a:t>21 </a:t>
            </a:r>
            <a:r>
              <a:rPr lang="ru-RU" sz="2800" dirty="0"/>
              <a:t>/ Август 20</a:t>
            </a:r>
            <a:r>
              <a:rPr lang="en-US" sz="2800" dirty="0"/>
              <a:t>19)</a:t>
            </a:r>
            <a:endParaRPr lang="en-US" sz="3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4D5B60-1032-4888-82BD-90867F19154C}"/>
              </a:ext>
            </a:extLst>
          </p:cNvPr>
          <p:cNvSpPr txBox="1"/>
          <p:nvPr/>
        </p:nvSpPr>
        <p:spPr>
          <a:xfrm>
            <a:off x="66953" y="6550223"/>
            <a:ext cx="95518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prstClr val="black"/>
                </a:solidFill>
                <a:latin typeface="Aktiv Grotesk"/>
              </a:rPr>
              <a:t>Источник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ktiv Grotesk"/>
                <a:ea typeface="+mn-ea"/>
                <a:cs typeface="+mn-cs"/>
              </a:rPr>
              <a:t>: IATA Economics using data from IATA Monthly Statistics. Data is adjusted for seasonality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6FFAA47-6BC7-4D24-95AD-7DADE372C8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798517"/>
            <a:ext cx="11182072" cy="5059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37536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3A81B4-52E1-416B-8D89-96AEACC196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107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B3A81B4-52E1-416B-8D89-96AEACC196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F9374D61-3506-4E73-9C07-2F0973E8F980}"/>
              </a:ext>
            </a:extLst>
          </p:cNvPr>
          <p:cNvSpPr txBox="1"/>
          <p:nvPr/>
        </p:nvSpPr>
        <p:spPr>
          <a:xfrm>
            <a:off x="66953" y="6550223"/>
            <a:ext cx="95518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Источник</a:t>
            </a:r>
            <a:r>
              <a:rPr lang="en-US" sz="1400" dirty="0"/>
              <a:t>: IATA Economics Airline Industry Financial Forecast update, October 2021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3F591D3-159C-4B47-B2E9-2CB3889A1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677" y="256419"/>
            <a:ext cx="12051323" cy="983228"/>
          </a:xfrm>
        </p:spPr>
        <p:txBody>
          <a:bodyPr vert="horz"/>
          <a:lstStyle/>
          <a:p>
            <a:r>
              <a:rPr lang="ru-RU" sz="3600" dirty="0"/>
              <a:t>ВВЛ восстанавливается существенно быстрее</a:t>
            </a:r>
            <a:br>
              <a:rPr lang="en-US" sz="3600" dirty="0"/>
            </a:br>
            <a:r>
              <a:rPr lang="ru-RU" sz="2800" dirty="0"/>
              <a:t>В 2022 ВВЛ составит </a:t>
            </a:r>
            <a:r>
              <a:rPr lang="en-US" sz="2800" dirty="0"/>
              <a:t>9</a:t>
            </a:r>
            <a:r>
              <a:rPr lang="tr-TR" sz="2800" dirty="0"/>
              <a:t>3</a:t>
            </a:r>
            <a:r>
              <a:rPr lang="en-US" sz="2800" dirty="0"/>
              <a:t>%</a:t>
            </a:r>
            <a:r>
              <a:rPr lang="tr-TR" sz="2800" dirty="0"/>
              <a:t>, </a:t>
            </a:r>
            <a:r>
              <a:rPr lang="ru-RU" sz="2800" dirty="0"/>
              <a:t>МВЛ </a:t>
            </a:r>
            <a:r>
              <a:rPr lang="tr-TR" sz="2800" dirty="0"/>
              <a:t>44%</a:t>
            </a:r>
            <a:r>
              <a:rPr lang="en-US" sz="2800" dirty="0"/>
              <a:t> </a:t>
            </a:r>
            <a:r>
              <a:rPr lang="ru-RU" sz="2800" dirty="0"/>
              <a:t>от показателей 2019 года. </a:t>
            </a:r>
            <a:endParaRPr lang="en-US" sz="2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E17B130-E273-4416-B211-1A7744B7B28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391003"/>
            <a:ext cx="10716768" cy="5007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23731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B3A81B4-52E1-416B-8D89-96AEACC196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4297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B3A81B4-52E1-416B-8D89-96AEACC196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7BDF6FF-B0B8-477A-9E99-C2366BE69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143" y="256419"/>
            <a:ext cx="11934857" cy="983228"/>
          </a:xfrm>
        </p:spPr>
        <p:txBody>
          <a:bodyPr vert="horz"/>
          <a:lstStyle/>
          <a:p>
            <a:r>
              <a:rPr lang="ru-RU" sz="3600" dirty="0"/>
              <a:t>О возврате отрасли к прибыльности пока говорить не приходится</a:t>
            </a:r>
            <a:br>
              <a:rPr lang="ru-RU" sz="3600" dirty="0"/>
            </a:br>
            <a:r>
              <a:rPr lang="ru-RU" sz="2800" dirty="0"/>
              <a:t>2022 год станет еще одним годом убытков для отрасли</a:t>
            </a:r>
            <a:endParaRPr lang="en-US" sz="3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4D5B60-1032-4888-82BD-90867F19154C}"/>
              </a:ext>
            </a:extLst>
          </p:cNvPr>
          <p:cNvSpPr txBox="1"/>
          <p:nvPr/>
        </p:nvSpPr>
        <p:spPr>
          <a:xfrm>
            <a:off x="66953" y="6550223"/>
            <a:ext cx="95518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Источник</a:t>
            </a:r>
            <a:r>
              <a:rPr lang="en-US" sz="1400" dirty="0"/>
              <a:t>: IATA Economics Airline Industry Financial Forecast update, October 202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C81B4A-F3B5-4B2F-8AB6-947215B7DC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12444" y="1838696"/>
            <a:ext cx="9012681" cy="4486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40666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9000" t="-9000" r="-14000" b="-1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44073" y="2641600"/>
            <a:ext cx="9144000" cy="923637"/>
          </a:xfrm>
          <a:solidFill>
            <a:srgbClr val="EBF3F6">
              <a:alpha val="70000"/>
            </a:srgbClr>
          </a:solidFill>
        </p:spPr>
        <p:txBody>
          <a:bodyPr anchor="ctr">
            <a:normAutofit/>
          </a:bodyPr>
          <a:lstStyle/>
          <a:p>
            <a:pPr>
              <a:spcBef>
                <a:spcPts val="0"/>
              </a:spcBef>
            </a:pPr>
            <a:r>
              <a:rPr lang="en-US" sz="4000" b="1" dirty="0">
                <a:solidFill>
                  <a:srgbClr val="1E32FA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BSP </a:t>
            </a:r>
            <a:r>
              <a:rPr lang="ru-RU" sz="4000" b="1" dirty="0">
                <a:solidFill>
                  <a:srgbClr val="1E32FA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России. Основные показатели.</a:t>
            </a:r>
            <a:endParaRPr lang="en-US" sz="4000" b="1" dirty="0">
              <a:solidFill>
                <a:srgbClr val="1E32FA"/>
              </a:solidFill>
              <a:latin typeface="Aktiv Grotesk" panose="020B0504020202020204" pitchFamily="34" charset="0"/>
              <a:ea typeface="Aktiv Grotesk" panose="020B0504020202020204" pitchFamily="34" charset="0"/>
              <a:cs typeface="Aktiv Grotesk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7036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34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492" y="394494"/>
            <a:ext cx="10515600" cy="1325563"/>
          </a:xfrm>
        </p:spPr>
        <p:txBody>
          <a:bodyPr>
            <a:normAutofit/>
          </a:bodyPr>
          <a:lstStyle/>
          <a:p>
            <a:r>
              <a:rPr lang="en-GB" sz="3600" b="1" dirty="0">
                <a:solidFill>
                  <a:srgbClr val="1E32FA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BSP RU 2021 vs 2019</a:t>
            </a:r>
            <a:br>
              <a:rPr lang="en-GB" dirty="0"/>
            </a:br>
            <a:endParaRPr lang="en-US" b="1" dirty="0">
              <a:solidFill>
                <a:srgbClr val="FF0000"/>
              </a:solidFill>
              <a:latin typeface="Aktiv Grotesk" panose="020B0504020202020204" pitchFamily="34" charset="0"/>
              <a:ea typeface="Aktiv Grotesk" panose="020B0504020202020204" pitchFamily="34" charset="0"/>
              <a:cs typeface="Aktiv Grotesk" panose="020B05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24106" y="1837223"/>
            <a:ext cx="3825602" cy="24622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МВЛ + ВВЛ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(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билеты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)</a:t>
            </a:r>
          </a:p>
        </p:txBody>
      </p:sp>
      <p:sp>
        <p:nvSpPr>
          <p:cNvPr id="7" name="TextBox 6"/>
          <p:cNvSpPr txBox="1"/>
          <p:nvPr/>
        </p:nvSpPr>
        <p:spPr>
          <a:xfrm rot="10800000" flipV="1">
            <a:off x="8296608" y="1837223"/>
            <a:ext cx="1281529" cy="24622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RUB</a:t>
            </a:r>
          </a:p>
        </p:txBody>
      </p:sp>
      <p:cxnSp>
        <p:nvCxnSpPr>
          <p:cNvPr id="14" name="Straight Connector 13"/>
          <p:cNvCxnSpPr/>
          <p:nvPr/>
        </p:nvCxnSpPr>
        <p:spPr>
          <a:xfrm flipH="1">
            <a:off x="5673814" y="1333826"/>
            <a:ext cx="12879" cy="53247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C9F440D7-E0FA-4CC7-9E3E-29A6467578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492" y="2557467"/>
            <a:ext cx="5418830" cy="324325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3E0C6FC-0E36-43FD-ACBD-8BE2F122D7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14185" y="2309816"/>
            <a:ext cx="6246376" cy="3738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7728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34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1" y="257667"/>
            <a:ext cx="10515600" cy="923434"/>
          </a:xfrm>
        </p:spPr>
        <p:txBody>
          <a:bodyPr>
            <a:normAutofit/>
          </a:bodyPr>
          <a:lstStyle/>
          <a:p>
            <a:r>
              <a:rPr lang="en-GB" sz="3600" b="1" dirty="0">
                <a:solidFill>
                  <a:srgbClr val="1E32FA"/>
                </a:solidFill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BSP RU 2021 vs 2019</a:t>
            </a:r>
            <a:endParaRPr lang="en-US" b="1" dirty="0">
              <a:solidFill>
                <a:srgbClr val="FF0000"/>
              </a:solidFill>
              <a:latin typeface="Aktiv Grotesk" panose="020B0504020202020204" pitchFamily="34" charset="0"/>
              <a:ea typeface="Aktiv Grotesk" panose="020B0504020202020204" pitchFamily="34" charset="0"/>
              <a:cs typeface="Aktiv Grotesk" panose="020B05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BA4C2FF-2D17-47E5-8DA3-94E3B93E84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01" y="1608794"/>
            <a:ext cx="6437934" cy="468213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DDC5226-1DF0-4653-8357-1B6EC69898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0612" y="2332272"/>
            <a:ext cx="5409787" cy="323517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447040B-681B-4D3F-AB61-D93173F8A996}"/>
              </a:ext>
            </a:extLst>
          </p:cNvPr>
          <p:cNvSpPr txBox="1"/>
          <p:nvPr/>
        </p:nvSpPr>
        <p:spPr>
          <a:xfrm>
            <a:off x="1114606" y="1148726"/>
            <a:ext cx="3825602" cy="24622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МВЛ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/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 ВВЛ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(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билеты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ktiv Grotesk" panose="020B0504020202020204" pitchFamily="34" charset="0"/>
                <a:ea typeface="Aktiv Grotesk" panose="020B0504020202020204" pitchFamily="34" charset="0"/>
                <a:cs typeface="Aktiv Grotesk" panose="020B05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003807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slPWosTwOzW7lM.kFv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vanwoerdenj\AppData\Local\Temp\Templafy\PowerPointVsto\Assets\eed6b6c0-aed5-4d20-81a4-c14e4e3d783e.jp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vanwoerdenj\AppData\Local\Temp\Templafy\PowerPointVsto\Assets\c7fbe128-7da0-49cf-83ff-2989fc4e0480.jp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ganeshu\AppData\Local\Temp\Templafy\PowerPointVsto\Assets\7865469c-7cb0-45bf-902b-67f713a15698.jp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97074618400251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ganeshu\AppData\Local\Temp\Templafy\PowerPointVsto\Assets\ea66ccd5-f762-4017-be98-085e9f72a8f7.jp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ATA_Master">
  <a:themeElements>
    <a:clrScheme name="IATA">
      <a:dk1>
        <a:sysClr val="windowText" lastClr="000000"/>
      </a:dk1>
      <a:lt1>
        <a:sysClr val="window" lastClr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default.pptx  -  Read-Only" id="{3393D6F6-3DDF-4AD8-AF70-01B8C861C0E9}" vid="{9069597E-579C-472E-93EE-52701DC46031}"/>
    </a:ext>
  </a:extLst>
</a:theme>
</file>

<file path=ppt/theme/theme2.xml><?xml version="1.0" encoding="utf-8"?>
<a:theme xmlns:a="http://schemas.openxmlformats.org/drawingml/2006/main" name="1_WHITE_MasterSlide">
  <a:themeElements>
    <a:clrScheme name="IATA_official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000000"/>
      </a:accent4>
      <a:accent5>
        <a:srgbClr val="289632"/>
      </a:accent5>
      <a:accent6>
        <a:srgbClr val="F046C8"/>
      </a:accent6>
      <a:hlink>
        <a:srgbClr val="0563C1"/>
      </a:hlink>
      <a:folHlink>
        <a:srgbClr val="954F72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ATA_Master_LIGHT" id="{8CE89820-496D-4A78-ADFB-92772D2458EA}" vid="{720A2547-DFF2-4214-8B6D-59F00AEE3A41}"/>
    </a:ext>
  </a:extLst>
</a:theme>
</file>

<file path=ppt/theme/theme3.xml><?xml version="1.0" encoding="utf-8"?>
<a:theme xmlns:a="http://schemas.openxmlformats.org/drawingml/2006/main" name="02_Basic_Template_NEW_v4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sic_Template" id="{D75032BE-B244-45EE-AECF-DD06A8B345D2}" vid="{B5C330AD-4162-4B13-BC38-93EEAE36D3D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IATA_Master">
  <a:themeElements>
    <a:clrScheme name="IATA">
      <a:dk1>
        <a:sysClr val="windowText" lastClr="000000"/>
      </a:dk1>
      <a:lt1>
        <a:sysClr val="window" lastClr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ATA_Master.potx" id="{1CE0BA84-D5C2-4CD9-B5EF-243AC7689F57}" vid="{08549F90-7BF0-4A77-9573-203BE325657E}"/>
    </a:ext>
  </a:extLst>
</a:theme>
</file>

<file path=ppt/theme/theme7.xml><?xml version="1.0" encoding="utf-8"?>
<a:theme xmlns:a="http://schemas.openxmlformats.org/drawingml/2006/main" name="3. Special Slides">
  <a:themeElements>
    <a:clrScheme name="IATA">
      <a:dk1>
        <a:srgbClr val="000000"/>
      </a:dk1>
      <a:lt1>
        <a:srgbClr val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ATA Consulting Template v5.6.potx" id="{78EEE9B3-BB49-40EB-AA73-F3C0CE8FEE6B}" vid="{F8D0FFE5-28C5-46CD-AAB2-0599EB80EA31}"/>
    </a:ext>
  </a:extLst>
</a:theme>
</file>

<file path=ppt/theme/theme8.xml><?xml version="1.0" encoding="utf-8"?>
<a:theme xmlns:a="http://schemas.openxmlformats.org/drawingml/2006/main" name="Office Theme">
  <a:themeElements>
    <a:clrScheme name="IATA">
      <a:dk1>
        <a:sysClr val="windowText" lastClr="000000"/>
      </a:dk1>
      <a:lt1>
        <a:sysClr val="window" lastClr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 Notes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IATA">
      <a:dk1>
        <a:sysClr val="windowText" lastClr="000000"/>
      </a:dk1>
      <a:lt1>
        <a:sysClr val="window" lastClr="FFFFFF"/>
      </a:lt1>
      <a:dk2>
        <a:srgbClr val="000000"/>
      </a:dk2>
      <a:lt2>
        <a:srgbClr val="E6E6E6"/>
      </a:lt2>
      <a:accent1>
        <a:srgbClr val="1E32FA"/>
      </a:accent1>
      <a:accent2>
        <a:srgbClr val="FAC832"/>
      </a:accent2>
      <a:accent3>
        <a:srgbClr val="F04632"/>
      </a:accent3>
      <a:accent4>
        <a:srgbClr val="289632"/>
      </a:accent4>
      <a:accent5>
        <a:srgbClr val="F046C8"/>
      </a:accent5>
      <a:accent6>
        <a:srgbClr val="5A14A0"/>
      </a:accent6>
      <a:hlink>
        <a:srgbClr val="1E32FA"/>
      </a:hlink>
      <a:folHlink>
        <a:srgbClr val="5A14A0"/>
      </a:folHlink>
    </a:clrScheme>
    <a:fontScheme name="IATA Handouts">
      <a:majorFont>
        <a:latin typeface="Aktiv Grotesk Medium"/>
        <a:ea typeface=""/>
        <a:cs typeface=""/>
      </a:majorFont>
      <a:minorFont>
        <a:latin typeface="Aktiv Grotes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28</TotalTime>
  <Words>671</Words>
  <Application>Microsoft Office PowerPoint</Application>
  <PresentationFormat>Widescreen</PresentationFormat>
  <Paragraphs>106</Paragraphs>
  <Slides>19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5" baseType="lpstr">
      <vt:lpstr>Arial</vt:lpstr>
      <vt:lpstr>Aktiv Grotesk Thin</vt:lpstr>
      <vt:lpstr>Aktiv Grotesk Medium</vt:lpstr>
      <vt:lpstr>Tahoma</vt:lpstr>
      <vt:lpstr>Calibri</vt:lpstr>
      <vt:lpstr>Aktiv Grotesk</vt:lpstr>
      <vt:lpstr>Wingdings</vt:lpstr>
      <vt:lpstr>Calibri Light</vt:lpstr>
      <vt:lpstr>IATA_Master</vt:lpstr>
      <vt:lpstr>1_WHITE_MasterSlide</vt:lpstr>
      <vt:lpstr>02_Basic_Template_NEW_v4</vt:lpstr>
      <vt:lpstr>Office Theme</vt:lpstr>
      <vt:lpstr>1_Office Theme</vt:lpstr>
      <vt:lpstr>1_IATA_Master</vt:lpstr>
      <vt:lpstr>3. Special Slides</vt:lpstr>
      <vt:lpstr>think-cell Slide</vt:lpstr>
      <vt:lpstr>Международная ассоциация воздушного транспорта </vt:lpstr>
      <vt:lpstr>SOSтояние отрасли</vt:lpstr>
      <vt:lpstr>COVID-19 стал самым крупным и затяжным «ударом» по гражданской авиации. Предыдущие кризисы приводили к потерям 5-20% и длились 6-18 месяцев.</vt:lpstr>
      <vt:lpstr>Восстановление экономики способствует росту грузовых перевозок и ВВЛ МВЛ - 68.8%, ВВЛ - 32.2%, Карго +7.7% (Август 2021 / Август 2019)</vt:lpstr>
      <vt:lpstr>ВВЛ восстанавливается существенно быстрее В 2022 ВВЛ составит 93%, МВЛ 44% от показателей 2019 года. </vt:lpstr>
      <vt:lpstr>О возврате отрасли к прибыльности пока говорить не приходится 2022 год станет еще одним годом убытков для отрасли</vt:lpstr>
      <vt:lpstr>PowerPoint Presentation</vt:lpstr>
      <vt:lpstr>BSP RU 2021 vs 2019 </vt:lpstr>
      <vt:lpstr>BSP RU 2021 vs 2019</vt:lpstr>
      <vt:lpstr>IATA EasyPay</vt:lpstr>
      <vt:lpstr>Что такое IATA EASYPAY (IEP)</vt:lpstr>
      <vt:lpstr>Преимущества IATA EASYPAY  для Агентов – участников BSP</vt:lpstr>
      <vt:lpstr>PowerPoint Presentation</vt:lpstr>
      <vt:lpstr>Влияние COVID-19 на мои поездки </vt:lpstr>
      <vt:lpstr>Путешествуя, я переживал… </vt:lpstr>
      <vt:lpstr>Меры, которые я хотел бы видеть в постковидной реальности </vt:lpstr>
      <vt:lpstr>Вызовы ближайших лет</vt:lpstr>
      <vt:lpstr>PowerPoint Presentation</vt:lpstr>
      <vt:lpstr>СПАСИБО!</vt:lpstr>
    </vt:vector>
  </TitlesOfParts>
  <Company>IAT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IATA PowerPoint Master Theme</dc:subject>
  <dc:creator>Jordan Van Woerden</dc:creator>
  <cp:lastModifiedBy>Vladimir Proskurin</cp:lastModifiedBy>
  <cp:revision>107</cp:revision>
  <cp:lastPrinted>2021-04-07T07:14:37Z</cp:lastPrinted>
  <dcterms:created xsi:type="dcterms:W3CDTF">2021-03-16T15:33:19Z</dcterms:created>
  <dcterms:modified xsi:type="dcterms:W3CDTF">2021-11-30T17:3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 Version">
    <vt:lpwstr>1.0.0</vt:lpwstr>
  </property>
  <property fmtid="{D5CDD505-2E9C-101B-9397-08002B2CF9AE}" pid="3" name="TemplafyTimeStamp">
    <vt:lpwstr>2019-06-27T04:47:42.2676291Z</vt:lpwstr>
  </property>
</Properties>
</file>